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29.xml" ContentType="application/vnd.openxmlformats-officedocument.presentationml.tags+xml"/>
  <Override PartName="/ppt/tags/tag38.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2.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Default Extension="wmf" ContentType="image/x-wmf"/>
  <Default Extension="rels" ContentType="application/vnd.openxmlformats-package.relationship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76" r:id="rId2"/>
    <p:sldMasterId id="2147483946" r:id="rId3"/>
  </p:sldMasterIdLst>
  <p:notesMasterIdLst>
    <p:notesMasterId r:id="rId24"/>
  </p:notesMasterIdLst>
  <p:handoutMasterIdLst>
    <p:handoutMasterId r:id="rId25"/>
  </p:handoutMasterIdLst>
  <p:sldIdLst>
    <p:sldId id="311" r:id="rId4"/>
    <p:sldId id="346" r:id="rId5"/>
    <p:sldId id="373" r:id="rId6"/>
    <p:sldId id="353" r:id="rId7"/>
    <p:sldId id="354" r:id="rId8"/>
    <p:sldId id="355" r:id="rId9"/>
    <p:sldId id="377" r:id="rId10"/>
    <p:sldId id="357" r:id="rId11"/>
    <p:sldId id="361" r:id="rId12"/>
    <p:sldId id="358" r:id="rId13"/>
    <p:sldId id="359" r:id="rId14"/>
    <p:sldId id="362" r:id="rId15"/>
    <p:sldId id="360" r:id="rId16"/>
    <p:sldId id="363" r:id="rId17"/>
    <p:sldId id="365" r:id="rId18"/>
    <p:sldId id="367" r:id="rId19"/>
    <p:sldId id="374" r:id="rId20"/>
    <p:sldId id="378" r:id="rId21"/>
    <p:sldId id="376" r:id="rId22"/>
    <p:sldId id="341" r:id="rId23"/>
  </p:sldIdLst>
  <p:sldSz cx="9906000" cy="6858000" type="A4"/>
  <p:notesSz cx="6797675" cy="9874250"/>
  <p:custDataLst>
    <p:tags r:id="rId2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9966"/>
    <a:srgbClr val="FFCC66"/>
    <a:srgbClr val="FFBC1D"/>
    <a:srgbClr val="FFCC00"/>
    <a:srgbClr val="FF3300"/>
    <a:srgbClr val="000000"/>
    <a:srgbClr val="D5EBFF"/>
    <a:srgbClr val="E1F7FF"/>
    <a:srgbClr val="A91F5B"/>
    <a:srgbClr val="71205F"/>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72833802-FEF1-4C79-8D5D-14CF1EAF98D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471" autoAdjust="0"/>
    <p:restoredTop sz="95577" autoAdjust="0"/>
  </p:normalViewPr>
  <p:slideViewPr>
    <p:cSldViewPr snapToGrid="0">
      <p:cViewPr>
        <p:scale>
          <a:sx n="100" d="100"/>
          <a:sy n="100" d="100"/>
        </p:scale>
        <p:origin x="-114" y="-234"/>
      </p:cViewPr>
      <p:guideLst>
        <p:guide orient="horz" pos="3948"/>
        <p:guide orient="horz" pos="942"/>
        <p:guide orient="horz" pos="3504"/>
        <p:guide orient="horz" pos="3290"/>
        <p:guide orient="horz" pos="1354"/>
        <p:guide pos="3120"/>
        <p:guide pos="6025"/>
        <p:guide pos="3062"/>
        <p:guide pos="3179"/>
        <p:guide pos="215"/>
        <p:guide pos="387"/>
        <p:guide pos="58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1" d="100"/>
          <a:sy n="71" d="100"/>
        </p:scale>
        <p:origin x="-3372" y="-120"/>
      </p:cViewPr>
      <p:guideLst>
        <p:guide orient="horz" pos="3110"/>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presProps" Target="presProps.xml"/><Relationship Id="rId3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9BD3261-7E84-4045-913A-5D86CC9E06FB}" type="doc">
      <dgm:prSet loTypeId="urn:microsoft.com/office/officeart/2005/8/layout/gear1" loCatId="process" qsTypeId="urn:microsoft.com/office/officeart/2005/8/quickstyle/simple1" qsCatId="simple" csTypeId="urn:microsoft.com/office/officeart/2005/8/colors/accent1_2" csCatId="accent1" phldr="1"/>
      <dgm:spPr/>
    </dgm:pt>
    <dgm:pt modelId="{80253994-59DA-4B6C-88D9-ED919D072772}">
      <dgm:prSet phldrT="[Text]" custT="1"/>
      <dgm:spPr/>
      <dgm:t>
        <a:bodyPr/>
        <a:lstStyle/>
        <a:p>
          <a:r>
            <a:rPr lang="en-US" sz="1000" dirty="0" smtClean="0"/>
            <a:t>RML Smoke build</a:t>
          </a:r>
          <a:endParaRPr lang="en-US" sz="1000" dirty="0"/>
        </a:p>
      </dgm:t>
    </dgm:pt>
    <dgm:pt modelId="{D3EA30E2-D1BE-40AC-84A6-94F32580A9A8}" type="parTrans" cxnId="{F6040028-25CF-498B-8F0B-E278DEB2E641}">
      <dgm:prSet/>
      <dgm:spPr/>
      <dgm:t>
        <a:bodyPr/>
        <a:lstStyle/>
        <a:p>
          <a:endParaRPr lang="en-US"/>
        </a:p>
      </dgm:t>
    </dgm:pt>
    <dgm:pt modelId="{23BAB98E-AC93-475F-8840-347571FFE73F}" type="sibTrans" cxnId="{F6040028-25CF-498B-8F0B-E278DEB2E641}">
      <dgm:prSet/>
      <dgm:spPr/>
      <dgm:t>
        <a:bodyPr/>
        <a:lstStyle/>
        <a:p>
          <a:endParaRPr lang="en-US"/>
        </a:p>
      </dgm:t>
    </dgm:pt>
    <dgm:pt modelId="{F87A9A6B-F1B9-4941-B4F8-EE304AA2C8A7}" type="pres">
      <dgm:prSet presAssocID="{59BD3261-7E84-4045-913A-5D86CC9E06FB}" presName="composite" presStyleCnt="0">
        <dgm:presLayoutVars>
          <dgm:chMax val="3"/>
          <dgm:animLvl val="lvl"/>
          <dgm:resizeHandles val="exact"/>
        </dgm:presLayoutVars>
      </dgm:prSet>
      <dgm:spPr/>
    </dgm:pt>
    <dgm:pt modelId="{7DE1996E-FB63-4631-9D67-0468784D4F41}" type="pres">
      <dgm:prSet presAssocID="{80253994-59DA-4B6C-88D9-ED919D072772}" presName="gear1" presStyleLbl="node1" presStyleIdx="0" presStyleCnt="1">
        <dgm:presLayoutVars>
          <dgm:chMax val="1"/>
          <dgm:bulletEnabled val="1"/>
        </dgm:presLayoutVars>
      </dgm:prSet>
      <dgm:spPr/>
      <dgm:t>
        <a:bodyPr/>
        <a:lstStyle/>
        <a:p>
          <a:endParaRPr lang="en-US"/>
        </a:p>
      </dgm:t>
    </dgm:pt>
    <dgm:pt modelId="{218A6E6C-D0AF-4008-8FEA-6C3E6FB58867}" type="pres">
      <dgm:prSet presAssocID="{80253994-59DA-4B6C-88D9-ED919D072772}" presName="gear1srcNode" presStyleLbl="node1" presStyleIdx="0" presStyleCnt="1"/>
      <dgm:spPr/>
      <dgm:t>
        <a:bodyPr/>
        <a:lstStyle/>
        <a:p>
          <a:endParaRPr lang="en-US"/>
        </a:p>
      </dgm:t>
    </dgm:pt>
    <dgm:pt modelId="{A4C914DD-156C-44AE-A730-CEA74D3C6FD5}" type="pres">
      <dgm:prSet presAssocID="{80253994-59DA-4B6C-88D9-ED919D072772}" presName="gear1dstNode" presStyleLbl="node1" presStyleIdx="0" presStyleCnt="1"/>
      <dgm:spPr/>
      <dgm:t>
        <a:bodyPr/>
        <a:lstStyle/>
        <a:p>
          <a:endParaRPr lang="en-US"/>
        </a:p>
      </dgm:t>
    </dgm:pt>
    <dgm:pt modelId="{330EBDDE-4F5B-4806-8383-8F529D7CC32F}" type="pres">
      <dgm:prSet presAssocID="{23BAB98E-AC93-475F-8840-347571FFE73F}" presName="connector1" presStyleLbl="sibTrans2D1" presStyleIdx="0" presStyleCnt="1"/>
      <dgm:spPr/>
      <dgm:t>
        <a:bodyPr/>
        <a:lstStyle/>
        <a:p>
          <a:endParaRPr lang="en-US"/>
        </a:p>
      </dgm:t>
    </dgm:pt>
  </dgm:ptLst>
  <dgm:cxnLst>
    <dgm:cxn modelId="{F6040028-25CF-498B-8F0B-E278DEB2E641}" srcId="{59BD3261-7E84-4045-913A-5D86CC9E06FB}" destId="{80253994-59DA-4B6C-88D9-ED919D072772}" srcOrd="0" destOrd="0" parTransId="{D3EA30E2-D1BE-40AC-84A6-94F32580A9A8}" sibTransId="{23BAB98E-AC93-475F-8840-347571FFE73F}"/>
    <dgm:cxn modelId="{26BA78D6-C556-4178-B898-B316A1C2D1E2}" type="presOf" srcId="{59BD3261-7E84-4045-913A-5D86CC9E06FB}" destId="{F87A9A6B-F1B9-4941-B4F8-EE304AA2C8A7}" srcOrd="0" destOrd="0" presId="urn:microsoft.com/office/officeart/2005/8/layout/gear1"/>
    <dgm:cxn modelId="{410DA032-B501-4CEE-B7EC-654494B610F9}" type="presOf" srcId="{80253994-59DA-4B6C-88D9-ED919D072772}" destId="{7DE1996E-FB63-4631-9D67-0468784D4F41}" srcOrd="0" destOrd="0" presId="urn:microsoft.com/office/officeart/2005/8/layout/gear1"/>
    <dgm:cxn modelId="{540FCDBE-04F2-4449-BF03-304465FB398D}" type="presOf" srcId="{23BAB98E-AC93-475F-8840-347571FFE73F}" destId="{330EBDDE-4F5B-4806-8383-8F529D7CC32F}" srcOrd="0" destOrd="0" presId="urn:microsoft.com/office/officeart/2005/8/layout/gear1"/>
    <dgm:cxn modelId="{22E425DE-0391-4744-BAAA-E93925DEE27B}" type="presOf" srcId="{80253994-59DA-4B6C-88D9-ED919D072772}" destId="{218A6E6C-D0AF-4008-8FEA-6C3E6FB58867}" srcOrd="1" destOrd="0" presId="urn:microsoft.com/office/officeart/2005/8/layout/gear1"/>
    <dgm:cxn modelId="{C3E2B7C7-D871-4A9C-9B1E-44A8044DC789}" type="presOf" srcId="{80253994-59DA-4B6C-88D9-ED919D072772}" destId="{A4C914DD-156C-44AE-A730-CEA74D3C6FD5}" srcOrd="2" destOrd="0" presId="urn:microsoft.com/office/officeart/2005/8/layout/gear1"/>
    <dgm:cxn modelId="{1E466D75-7D05-4CC1-816E-07144AA9D91D}" type="presParOf" srcId="{F87A9A6B-F1B9-4941-B4F8-EE304AA2C8A7}" destId="{7DE1996E-FB63-4631-9D67-0468784D4F41}" srcOrd="0" destOrd="0" presId="urn:microsoft.com/office/officeart/2005/8/layout/gear1"/>
    <dgm:cxn modelId="{9F515FAD-97CB-493D-A809-24D2C94D5A56}" type="presParOf" srcId="{F87A9A6B-F1B9-4941-B4F8-EE304AA2C8A7}" destId="{218A6E6C-D0AF-4008-8FEA-6C3E6FB58867}" srcOrd="1" destOrd="0" presId="urn:microsoft.com/office/officeart/2005/8/layout/gear1"/>
    <dgm:cxn modelId="{BA314F30-B867-40C6-9F4B-F4F5A8CB2513}" type="presParOf" srcId="{F87A9A6B-F1B9-4941-B4F8-EE304AA2C8A7}" destId="{A4C914DD-156C-44AE-A730-CEA74D3C6FD5}" srcOrd="2" destOrd="0" presId="urn:microsoft.com/office/officeart/2005/8/layout/gear1"/>
    <dgm:cxn modelId="{5080D9D6-F009-4A35-A0D9-08B726BF5DAC}" type="presParOf" srcId="{F87A9A6B-F1B9-4941-B4F8-EE304AA2C8A7}" destId="{330EBDDE-4F5B-4806-8383-8F529D7CC32F}" srcOrd="3" destOrd="0" presId="urn:microsoft.com/office/officeart/2005/8/layout/gear1"/>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7DE1996E-FB63-4631-9D67-0468784D4F41}">
      <dsp:nvSpPr>
        <dsp:cNvPr id="0" name=""/>
        <dsp:cNvSpPr/>
      </dsp:nvSpPr>
      <dsp:spPr>
        <a:xfrm>
          <a:off x="552449" y="323849"/>
          <a:ext cx="712470" cy="712470"/>
        </a:xfrm>
        <a:prstGeom prst="gear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US" sz="1000" kern="1200" dirty="0" smtClean="0"/>
            <a:t>RML Smoke build</a:t>
          </a:r>
          <a:endParaRPr lang="en-US" sz="1000" kern="1200" dirty="0"/>
        </a:p>
      </dsp:txBody>
      <dsp:txXfrm>
        <a:off x="552449" y="323849"/>
        <a:ext cx="712470" cy="712470"/>
      </dsp:txXfrm>
    </dsp:sp>
    <dsp:sp modelId="{330EBDDE-4F5B-4806-8383-8F529D7CC32F}">
      <dsp:nvSpPr>
        <dsp:cNvPr id="0" name=""/>
        <dsp:cNvSpPr/>
      </dsp:nvSpPr>
      <dsp:spPr>
        <a:xfrm>
          <a:off x="535898" y="229125"/>
          <a:ext cx="876338" cy="876338"/>
        </a:xfrm>
        <a:prstGeom prst="circularArrow">
          <a:avLst>
            <a:gd name="adj1" fmla="val 4878"/>
            <a:gd name="adj2" fmla="val 312630"/>
            <a:gd name="adj3" fmla="val 2743532"/>
            <a:gd name="adj4" fmla="val 15884965"/>
            <a:gd name="adj5" fmla="val 569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 xmlns:p14="http://schemas.microsoft.com/office/powerpoint/2010/main" val="35440710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6/9/2015</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dirty="0"/>
          </a:p>
        </p:txBody>
      </p:sp>
    </p:spTree>
    <p:extLst>
      <p:ext uri="{BB962C8B-B14F-4D97-AF65-F5344CB8AC3E}">
        <p14:creationId xmlns="" xmlns:p14="http://schemas.microsoft.com/office/powerpoint/2010/main" val="4271859091"/>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p:cNvSpPr>
            <a:spLocks noGrp="1" noRot="1" noChangeAspect="1" noTextEdit="1"/>
          </p:cNvSpPr>
          <p:nvPr>
            <p:ph type="sldImg"/>
          </p:nvPr>
        </p:nvSpPr>
        <p:spPr bwMode="auto">
          <a:noFill/>
          <a:ln>
            <a:solidFill>
              <a:srgbClr val="000000"/>
            </a:solidFill>
            <a:miter lim="800000"/>
            <a:headEnd/>
            <a:tailEnd/>
          </a:ln>
        </p:spPr>
      </p:sp>
      <p:sp>
        <p:nvSpPr>
          <p:cNvPr id="1433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14340"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66267F0E-0321-4FDD-A93B-42FF9A558DED}" type="slidenum">
              <a:rPr lang="en-US" smtClean="0"/>
              <a:pPr/>
              <a:t>3</a:t>
            </a:fld>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D8D2A0-9467-4CF4-9BE5-CA0D23FC303F}" type="slidenum">
              <a:rPr lang="en-US" smtClean="0"/>
              <a:pPr/>
              <a:t>9</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So, in order to test our web application, we should transform user actions into steps and expected outcomes</a:t>
            </a:r>
            <a:r>
              <a:rPr lang="en-US" sz="1200" b="0" i="0" kern="1200" baseline="0" dirty="0" smtClean="0">
                <a:solidFill>
                  <a:schemeClr val="tx1"/>
                </a:solidFill>
                <a:latin typeface="+mn-lt"/>
                <a:ea typeface="+mn-ea"/>
                <a:cs typeface="+mn-cs"/>
              </a:rPr>
              <a:t>. So through mink, behat is interacting  with web. </a:t>
            </a:r>
            <a:endParaRPr lang="en-US" dirty="0"/>
          </a:p>
        </p:txBody>
      </p:sp>
      <p:sp>
        <p:nvSpPr>
          <p:cNvPr id="4" name="Slide Number Placeholder 3"/>
          <p:cNvSpPr>
            <a:spLocks noGrp="1"/>
          </p:cNvSpPr>
          <p:nvPr>
            <p:ph type="sldNum" sz="quarter" idx="10"/>
          </p:nvPr>
        </p:nvSpPr>
        <p:spPr/>
        <p:txBody>
          <a:bodyPr/>
          <a:lstStyle/>
          <a:p>
            <a:fld id="{5BD8D2A0-9467-4CF4-9BE5-CA0D23FC303F}" type="slidenum">
              <a:rPr lang="en-US" smtClean="0"/>
              <a:pPr/>
              <a:t>12</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D8D2A0-9467-4CF4-9BE5-CA0D23FC303F}" type="slidenum">
              <a:rPr lang="en-US" smtClean="0"/>
              <a:pPr/>
              <a:t>15</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0</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1.xml"/><Relationship Id="rId7" Type="http://schemas.openxmlformats.org/officeDocument/2006/relationships/image" Target="../media/image5.jpe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slideMaster" Target="../slideMasters/slideMaster1.xml"/><Relationship Id="rId11" Type="http://schemas.openxmlformats.org/officeDocument/2006/relationships/image" Target="../media/image7.png"/><Relationship Id="rId5" Type="http://schemas.openxmlformats.org/officeDocument/2006/relationships/tags" Target="../tags/tag13.xml"/><Relationship Id="rId10" Type="http://schemas.openxmlformats.org/officeDocument/2006/relationships/image" Target="../media/image6.png"/><Relationship Id="rId4" Type="http://schemas.openxmlformats.org/officeDocument/2006/relationships/tags" Target="../tags/tag12.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1.vml"/><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image" Target="../media/image8.jpeg"/><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4.png"/><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6.xml"/><Relationship Id="rId7"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7.vml"/><Relationship Id="rId6" Type="http://schemas.openxmlformats.org/officeDocument/2006/relationships/tags" Target="../tags/tag29.xml"/><Relationship Id="rId5" Type="http://schemas.openxmlformats.org/officeDocument/2006/relationships/tags" Target="../tags/tag28.xml"/><Relationship Id="rId4" Type="http://schemas.openxmlformats.org/officeDocument/2006/relationships/tags" Target="../tags/tag27.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32.xml"/><Relationship Id="rId7" Type="http://schemas.openxmlformats.org/officeDocument/2006/relationships/image" Target="../media/image3.png"/><Relationship Id="rId2" Type="http://schemas.openxmlformats.org/officeDocument/2006/relationships/tags" Target="../tags/tag3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image" Target="../media/image8.jpeg"/><Relationship Id="rId4" Type="http://schemas.openxmlformats.org/officeDocument/2006/relationships/slideMaster" Target="../slideMasters/slideMaster1.xml"/><Relationship Id="rId9" Type="http://schemas.openxmlformats.org/officeDocument/2006/relationships/image" Target="../media/image7.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6" name="Picture 4" descr="D:\Users\jkanade\Pictures\royal.jpg"/>
          <p:cNvPicPr>
            <a:picLocks noChangeAspect="1" noChangeArrowheads="1"/>
          </p:cNvPicPr>
          <p:nvPr userDrawn="1"/>
        </p:nvPicPr>
        <p:blipFill>
          <a:blip r:embed="rId7" cstate="print"/>
          <a:srcRect l="10493" r="26256"/>
          <a:stretch>
            <a:fillRect/>
          </a:stretch>
        </p:blipFill>
        <p:spPr bwMode="auto">
          <a:xfrm>
            <a:off x="0" y="1370218"/>
            <a:ext cx="9906000" cy="5487782"/>
          </a:xfrm>
          <a:prstGeom prst="rect">
            <a:avLst/>
          </a:prstGeom>
          <a:noFill/>
        </p:spPr>
      </p:pic>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188506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188506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322241 w 10562411"/>
              <a:gd name="connsiteY1" fmla="*/ 256464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a:outerShdw blurRad="50800" dist="25400" dir="5400000" algn="t" rotWithShape="0">
              <a:srgbClr val="000000">
                <a:alpha val="40000"/>
              </a:srgb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41315" name="think-cell Slide" r:id="rId8" imgW="360" imgH="360" progId="">
              <p:embed/>
            </p:oleObj>
          </a:graphicData>
        </a:graphic>
      </p:graphicFrame>
      <p:sp>
        <p:nvSpPr>
          <p:cNvPr id="2" name="Title 1"/>
          <p:cNvSpPr>
            <a:spLocks noGrp="1"/>
          </p:cNvSpPr>
          <p:nvPr>
            <p:ph type="ctrTitle" hasCustomPrompt="1"/>
            <p:custDataLst>
              <p:tags r:id="rId3"/>
            </p:custDataLst>
          </p:nvPr>
        </p:nvSpPr>
        <p:spPr>
          <a:xfrm>
            <a:off x="3455308" y="4626870"/>
            <a:ext cx="5829980" cy="1188720"/>
          </a:xfrm>
          <a:effectLst>
            <a:outerShdw blurRad="38100" dist="25400" dir="2700000" algn="tl" rotWithShape="0">
              <a:prstClr val="black">
                <a:alpha val="81000"/>
              </a:prstClr>
            </a:outerShdw>
          </a:effectLst>
        </p:spPr>
        <p:txBody>
          <a:bodyPr lIns="0" tIns="33059" rIns="33059" bIns="33059"/>
          <a:lstStyle>
            <a:lvl1pPr algn="r">
              <a:defRPr sz="3300" b="0">
                <a:solidFill>
                  <a:schemeClr val="bg1"/>
                </a:solidFill>
                <a:effectLst>
                  <a:outerShdw blurRad="38100" dist="38100" dir="2700000" algn="tl">
                    <a:srgbClr val="000000">
                      <a:alpha val="43137"/>
                    </a:srgbClr>
                  </a:outerShdw>
                </a:effectLs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5322326" y="5793575"/>
            <a:ext cx="3962962" cy="947750"/>
          </a:xfrm>
          <a:effectLst>
            <a:outerShdw blurRad="38100" dist="25400" dir="2700000" algn="tl" rotWithShape="0">
              <a:prstClr val="black">
                <a:alpha val="81000"/>
              </a:prstClr>
            </a:outerShdw>
          </a:effectLst>
        </p:spPr>
        <p:txBody>
          <a:bodyPr lIns="0" tIns="33059" rIns="33059" bIns="33059"/>
          <a:lstStyle>
            <a:lvl1pPr marL="0" indent="0" algn="r">
              <a:buNone/>
              <a:defRPr sz="2200" b="0">
                <a:solidFill>
                  <a:schemeClr val="bg1"/>
                </a:solidFill>
                <a:effectLst>
                  <a:outerShdw blurRad="38100" dist="38100" dir="2700000" algn="tl">
                    <a:srgbClr val="000000">
                      <a:alpha val="43137"/>
                    </a:srgbClr>
                  </a:outerShdw>
                </a:effectLs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9" name="Picture 15" descr="Sogeti_Logo.png"/>
          <p:cNvPicPr>
            <a:picLocks noChangeAspect="1"/>
          </p:cNvPicPr>
          <p:nvPr userDrawn="1"/>
        </p:nvPicPr>
        <p:blipFill>
          <a:blip r:embed="rId9" cstate="print"/>
          <a:srcRect/>
          <a:stretch>
            <a:fillRect/>
          </a:stretch>
        </p:blipFill>
        <p:spPr bwMode="auto">
          <a:xfrm>
            <a:off x="6980238" y="727108"/>
            <a:ext cx="2305050" cy="502920"/>
          </a:xfrm>
          <a:prstGeom prst="rect">
            <a:avLst/>
          </a:prstGeom>
          <a:noFill/>
          <a:ln w="9525">
            <a:noFill/>
            <a:miter lim="800000"/>
            <a:headEnd/>
            <a:tailEnd/>
          </a:ln>
        </p:spPr>
      </p:pic>
      <p:pic>
        <p:nvPicPr>
          <p:cNvPr id="23" name="Picture 103" descr="C:\Users\UserSim\Desktop\Capgemini\Capgemini_logo_cmyk.png"/>
          <p:cNvPicPr>
            <a:picLocks noChangeAspect="1" noChangeArrowheads="1"/>
          </p:cNvPicPr>
          <p:nvPr userDrawn="1">
            <p:custDataLst>
              <p:tags r:id="rId5"/>
            </p:custDataLst>
          </p:nvPr>
        </p:nvPicPr>
        <p:blipFill>
          <a:blip r:embed="rId10" cstate="email"/>
          <a:srcRect/>
          <a:stretch>
            <a:fillRect/>
          </a:stretch>
        </p:blipFill>
        <p:spPr bwMode="auto">
          <a:xfrm>
            <a:off x="614363" y="693585"/>
            <a:ext cx="2422358" cy="569967"/>
          </a:xfrm>
          <a:prstGeom prst="rect">
            <a:avLst/>
          </a:prstGeom>
          <a:noFill/>
        </p:spPr>
      </p:pic>
      <p:pic>
        <p:nvPicPr>
          <p:cNvPr id="4" name="Picture 4" descr="D:\Users\jkanade\Documents\Royal_Mail.svg.png"/>
          <p:cNvPicPr>
            <a:picLocks noChangeAspect="1" noChangeArrowheads="1"/>
          </p:cNvPicPr>
          <p:nvPr userDrawn="1"/>
        </p:nvPicPr>
        <p:blipFill>
          <a:blip r:embed="rId11" cstate="print"/>
          <a:srcRect/>
          <a:stretch>
            <a:fillRect/>
          </a:stretch>
        </p:blipFill>
        <p:spPr bwMode="auto">
          <a:xfrm>
            <a:off x="3871912" y="257179"/>
            <a:ext cx="2117764" cy="1528761"/>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95475" y="6356666"/>
            <a:ext cx="2311052" cy="364753"/>
          </a:xfrm>
          <a:prstGeom prst="rect">
            <a:avLst/>
          </a:prstGeom>
        </p:spPr>
        <p:txBody>
          <a:bodyPr lIns="48491" tIns="24245" rIns="48491" bIns="24245"/>
          <a:lstStyle>
            <a:lvl1pPr>
              <a:defRPr/>
            </a:lvl1pPr>
          </a:lstStyle>
          <a:p>
            <a:pPr>
              <a:defRPr/>
            </a:pPr>
            <a:fld id="{76962B16-E649-4F79-960A-8A4F2B483052}" type="datetimeFigureOut">
              <a:rPr lang="en-US"/>
              <a:pPr>
                <a:defRPr/>
              </a:pPr>
              <a:t>6/9/2015</a:t>
            </a:fld>
            <a:endParaRPr lang="en-US"/>
          </a:p>
        </p:txBody>
      </p:sp>
      <p:sp>
        <p:nvSpPr>
          <p:cNvPr id="3" name="Footer Placeholder 4"/>
          <p:cNvSpPr>
            <a:spLocks noGrp="1"/>
          </p:cNvSpPr>
          <p:nvPr>
            <p:ph type="ftr" sz="quarter" idx="11"/>
          </p:nvPr>
        </p:nvSpPr>
        <p:spPr>
          <a:xfrm>
            <a:off x="3384725" y="6356666"/>
            <a:ext cx="3136552" cy="364753"/>
          </a:xfrm>
          <a:prstGeom prst="rect">
            <a:avLst/>
          </a:prstGeom>
        </p:spPr>
        <p:txBody>
          <a:bodyPr lIns="48491" tIns="24245" rIns="48491" bIns="24245"/>
          <a:lstStyle>
            <a:lvl1pPr>
              <a:defRPr/>
            </a:lvl1pPr>
          </a:lstStyle>
          <a:p>
            <a:pPr>
              <a:defRPr/>
            </a:pPr>
            <a:endParaRPr lang="en-US"/>
          </a:p>
        </p:txBody>
      </p:sp>
      <p:sp>
        <p:nvSpPr>
          <p:cNvPr id="4" name="Slide Number Placeholder 5"/>
          <p:cNvSpPr>
            <a:spLocks noGrp="1"/>
          </p:cNvSpPr>
          <p:nvPr>
            <p:ph type="sldNum" sz="quarter" idx="12"/>
          </p:nvPr>
        </p:nvSpPr>
        <p:spPr>
          <a:xfrm>
            <a:off x="7099475" y="6356666"/>
            <a:ext cx="2311052" cy="364753"/>
          </a:xfrm>
          <a:prstGeom prst="rect">
            <a:avLst/>
          </a:prstGeom>
        </p:spPr>
        <p:txBody>
          <a:bodyPr lIns="48491" tIns="24245" rIns="48491" bIns="24245"/>
          <a:lstStyle>
            <a:lvl1pPr>
              <a:defRPr/>
            </a:lvl1pPr>
          </a:lstStyle>
          <a:p>
            <a:pPr>
              <a:defRPr/>
            </a:pPr>
            <a:fld id="{33E8CC47-1DB1-4B16-9374-7D0575EC1DA1}"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262147" name="think-cell Slide" r:id="rId5" imgW="360" imgH="360" progId="">
              <p:embed/>
            </p:oleObj>
          </a:graphicData>
        </a:graphic>
      </p:graphicFrame>
      <p:sp>
        <p:nvSpPr>
          <p:cNvPr id="7" name="Rectangle 9"/>
          <p:cNvSpPr>
            <a:spLocks noChangeArrowheads="1"/>
          </p:cNvSpPr>
          <p:nvPr userDrawn="1">
            <p:custDataLst>
              <p:tags r:id="rId2"/>
            </p:custDataLst>
          </p:nvPr>
        </p:nvSpPr>
        <p:spPr bwMode="gray">
          <a:xfrm>
            <a:off x="1116633" y="3242915"/>
            <a:ext cx="8286130" cy="2213005"/>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 name="connsiteX0" fmla="*/ 4259840 w 4259840"/>
              <a:gd name="connsiteY0" fmla="*/ 2132777 h 2132777"/>
              <a:gd name="connsiteX1" fmla="*/ 129026 w 4259840"/>
              <a:gd name="connsiteY1" fmla="*/ 2121427 h 2132777"/>
              <a:gd name="connsiteX2" fmla="*/ 48075 w 4259840"/>
              <a:gd name="connsiteY2" fmla="*/ 2084702 h 2132777"/>
              <a:gd name="connsiteX3" fmla="*/ 0 w 4259840"/>
              <a:gd name="connsiteY3" fmla="*/ 1968640 h 2132777"/>
              <a:gd name="connsiteX4" fmla="*/ 0 w 4259840"/>
              <a:gd name="connsiteY4" fmla="*/ 0 h 2132777"/>
              <a:gd name="connsiteX0" fmla="*/ 4791079 w 4791079"/>
              <a:gd name="connsiteY0" fmla="*/ 2135700 h 2135700"/>
              <a:gd name="connsiteX1" fmla="*/ 129026 w 4791079"/>
              <a:gd name="connsiteY1" fmla="*/ 2121427 h 2135700"/>
              <a:gd name="connsiteX2" fmla="*/ 48075 w 4791079"/>
              <a:gd name="connsiteY2" fmla="*/ 2084702 h 2135700"/>
              <a:gd name="connsiteX3" fmla="*/ 0 w 4791079"/>
              <a:gd name="connsiteY3" fmla="*/ 1968640 h 2135700"/>
              <a:gd name="connsiteX4" fmla="*/ 0 w 4791079"/>
              <a:gd name="connsiteY4" fmla="*/ 0 h 2135700"/>
              <a:gd name="connsiteX0" fmla="*/ 4791079 w 4791079"/>
              <a:gd name="connsiteY0" fmla="*/ 2135700 h 2135700"/>
              <a:gd name="connsiteX1" fmla="*/ 129026 w 4791079"/>
              <a:gd name="connsiteY1" fmla="*/ 2135700 h 2135700"/>
              <a:gd name="connsiteX2" fmla="*/ 48075 w 4791079"/>
              <a:gd name="connsiteY2" fmla="*/ 2084702 h 2135700"/>
              <a:gd name="connsiteX3" fmla="*/ 0 w 4791079"/>
              <a:gd name="connsiteY3" fmla="*/ 1968640 h 2135700"/>
              <a:gd name="connsiteX4" fmla="*/ 0 w 4791079"/>
              <a:gd name="connsiteY4" fmla="*/ 0 h 2135700"/>
              <a:gd name="connsiteX0" fmla="*/ 4793370 w 4793370"/>
              <a:gd name="connsiteY0" fmla="*/ 2135700 h 2135700"/>
              <a:gd name="connsiteX1" fmla="*/ 131317 w 4793370"/>
              <a:gd name="connsiteY1" fmla="*/ 2135700 h 2135700"/>
              <a:gd name="connsiteX2" fmla="*/ 21504 w 4793370"/>
              <a:gd name="connsiteY2" fmla="*/ 2043778 h 2135700"/>
              <a:gd name="connsiteX3" fmla="*/ 2291 w 4793370"/>
              <a:gd name="connsiteY3" fmla="*/ 1968640 h 2135700"/>
              <a:gd name="connsiteX4" fmla="*/ 2291 w 4793370"/>
              <a:gd name="connsiteY4" fmla="*/ 0 h 2135700"/>
              <a:gd name="connsiteX0" fmla="*/ 5460566 w 5460566"/>
              <a:gd name="connsiteY0" fmla="*/ 2135700 h 2324590"/>
              <a:gd name="connsiteX1" fmla="*/ 798513 w 5460566"/>
              <a:gd name="connsiteY1" fmla="*/ 2135700 h 2324590"/>
              <a:gd name="connsiteX2" fmla="*/ 669487 w 5460566"/>
              <a:gd name="connsiteY2" fmla="*/ 1968640 h 2324590"/>
              <a:gd name="connsiteX3" fmla="*/ 669487 w 5460566"/>
              <a:gd name="connsiteY3" fmla="*/ 0 h 2324590"/>
              <a:gd name="connsiteX0" fmla="*/ 4793135 w 4793135"/>
              <a:gd name="connsiteY0" fmla="*/ 2135700 h 2324590"/>
              <a:gd name="connsiteX1" fmla="*/ 131082 w 4793135"/>
              <a:gd name="connsiteY1" fmla="*/ 2135700 h 2324590"/>
              <a:gd name="connsiteX2" fmla="*/ 2056 w 4793135"/>
              <a:gd name="connsiteY2" fmla="*/ 1968640 h 2324590"/>
              <a:gd name="connsiteX3" fmla="*/ 2056 w 4793135"/>
              <a:gd name="connsiteY3" fmla="*/ 0 h 2324590"/>
              <a:gd name="connsiteX0" fmla="*/ 4793135 w 4793135"/>
              <a:gd name="connsiteY0" fmla="*/ 2135700 h 2135700"/>
              <a:gd name="connsiteX1" fmla="*/ 131082 w 4793135"/>
              <a:gd name="connsiteY1" fmla="*/ 2135700 h 2135700"/>
              <a:gd name="connsiteX2" fmla="*/ 2056 w 4793135"/>
              <a:gd name="connsiteY2" fmla="*/ 1968640 h 2135700"/>
              <a:gd name="connsiteX3" fmla="*/ 2056 w 4793135"/>
              <a:gd name="connsiteY3" fmla="*/ 0 h 2135700"/>
              <a:gd name="connsiteX0" fmla="*/ 4791079 w 4791079"/>
              <a:gd name="connsiteY0" fmla="*/ 2135700 h 2135700"/>
              <a:gd name="connsiteX1" fmla="*/ 129026 w 4791079"/>
              <a:gd name="connsiteY1" fmla="*/ 2135700 h 2135700"/>
              <a:gd name="connsiteX2" fmla="*/ 0 w 4791079"/>
              <a:gd name="connsiteY2" fmla="*/ 1968640 h 2135700"/>
              <a:gd name="connsiteX3" fmla="*/ 0 w 4791079"/>
              <a:gd name="connsiteY3" fmla="*/ 0 h 2135700"/>
              <a:gd name="connsiteX0" fmla="*/ 4791079 w 4791079"/>
              <a:gd name="connsiteY0" fmla="*/ 2135700 h 2135700"/>
              <a:gd name="connsiteX1" fmla="*/ 129026 w 4791079"/>
              <a:gd name="connsiteY1" fmla="*/ 2135700 h 2135700"/>
              <a:gd name="connsiteX2" fmla="*/ 0 w 4791079"/>
              <a:gd name="connsiteY2" fmla="*/ 1968640 h 2135700"/>
              <a:gd name="connsiteX3" fmla="*/ 0 w 4791079"/>
              <a:gd name="connsiteY3" fmla="*/ 0 h 2135700"/>
              <a:gd name="connsiteX0" fmla="*/ 4800350 w 4800350"/>
              <a:gd name="connsiteY0" fmla="*/ 2135700 h 2135700"/>
              <a:gd name="connsiteX1" fmla="*/ 138297 w 4800350"/>
              <a:gd name="connsiteY1" fmla="*/ 2135700 h 2135700"/>
              <a:gd name="connsiteX2" fmla="*/ 9271 w 4800350"/>
              <a:gd name="connsiteY2" fmla="*/ 1968640 h 2135700"/>
              <a:gd name="connsiteX3" fmla="*/ 9271 w 4800350"/>
              <a:gd name="connsiteY3" fmla="*/ 0 h 2135700"/>
              <a:gd name="connsiteX0" fmla="*/ 4800350 w 4800350"/>
              <a:gd name="connsiteY0" fmla="*/ 2135700 h 2135700"/>
              <a:gd name="connsiteX1" fmla="*/ 138297 w 4800350"/>
              <a:gd name="connsiteY1" fmla="*/ 2135700 h 2135700"/>
              <a:gd name="connsiteX2" fmla="*/ 9271 w 4800350"/>
              <a:gd name="connsiteY2" fmla="*/ 1968640 h 2135700"/>
              <a:gd name="connsiteX3" fmla="*/ 9271 w 4800350"/>
              <a:gd name="connsiteY3" fmla="*/ 0 h 2135700"/>
              <a:gd name="connsiteX0" fmla="*/ 4791079 w 4791079"/>
              <a:gd name="connsiteY0" fmla="*/ 2135700 h 2137819"/>
              <a:gd name="connsiteX1" fmla="*/ 129026 w 4791079"/>
              <a:gd name="connsiteY1" fmla="*/ 2135700 h 2137819"/>
              <a:gd name="connsiteX2" fmla="*/ 0 w 4791079"/>
              <a:gd name="connsiteY2" fmla="*/ 1968640 h 2137819"/>
              <a:gd name="connsiteX3" fmla="*/ 0 w 4791079"/>
              <a:gd name="connsiteY3" fmla="*/ 0 h 2137819"/>
              <a:gd name="connsiteX0" fmla="*/ 4791079 w 4791079"/>
              <a:gd name="connsiteY0" fmla="*/ 2135700 h 2137819"/>
              <a:gd name="connsiteX1" fmla="*/ 129026 w 4791079"/>
              <a:gd name="connsiteY1" fmla="*/ 2135700 h 2137819"/>
              <a:gd name="connsiteX2" fmla="*/ 0 w 4791079"/>
              <a:gd name="connsiteY2" fmla="*/ 1968640 h 2137819"/>
              <a:gd name="connsiteX3" fmla="*/ 0 w 4791079"/>
              <a:gd name="connsiteY3" fmla="*/ 0 h 2137819"/>
            </a:gdLst>
            <a:ahLst/>
            <a:cxnLst>
              <a:cxn ang="0">
                <a:pos x="connsiteX0" y="connsiteY0"/>
              </a:cxn>
              <a:cxn ang="0">
                <a:pos x="connsiteX1" y="connsiteY1"/>
              </a:cxn>
              <a:cxn ang="0">
                <a:pos x="connsiteX2" y="connsiteY2"/>
              </a:cxn>
              <a:cxn ang="0">
                <a:pos x="connsiteX3" y="connsiteY3"/>
              </a:cxn>
            </a:cxnLst>
            <a:rect l="l" t="t" r="r" b="b"/>
            <a:pathLst>
              <a:path w="4791079" h="2137819">
                <a:moveTo>
                  <a:pt x="4791079" y="2135700"/>
                </a:moveTo>
                <a:lnTo>
                  <a:pt x="129026" y="2135700"/>
                </a:lnTo>
                <a:cubicBezTo>
                  <a:pt x="31316" y="2137819"/>
                  <a:pt x="9328" y="2077583"/>
                  <a:pt x="0" y="1968640"/>
                </a:cubicBezTo>
                <a:lnTo>
                  <a:pt x="0" y="0"/>
                </a:lnTo>
              </a:path>
            </a:pathLst>
          </a:custGeom>
          <a:noFill/>
          <a:ln w="19050" cap="flat" cmpd="sng" algn="ctr">
            <a:solidFill>
              <a:schemeClr val="bg1"/>
            </a:solidFill>
            <a:prstDash val="solid"/>
            <a:round/>
          </a:ln>
          <a:effectLst/>
        </p:spPr>
        <p:txBody>
          <a:bodyPr wrap="square" lIns="246888" tIns="50951" rIns="4114800" bIns="144000" rtlCol="0" anchor="t"/>
          <a:lstStyle/>
          <a:p>
            <a:pPr marL="0" marR="0" indent="0" algn="l" defTabSz="1042966" rtl="0" eaLnBrk="1" fontAlgn="auto" latinLnBrk="0" hangingPunct="1">
              <a:lnSpc>
                <a:spcPct val="100000"/>
              </a:lnSpc>
              <a:spcBef>
                <a:spcPts val="0"/>
              </a:spcBef>
              <a:spcAft>
                <a:spcPts val="0"/>
              </a:spcAft>
              <a:buClrTx/>
              <a:buSzTx/>
              <a:buFontTx/>
              <a:buNone/>
              <a:tabLst/>
              <a:defRPr/>
            </a:pPr>
            <a:r>
              <a:rPr lang="en-US" sz="1400" b="1" dirty="0" smtClean="0">
                <a:solidFill>
                  <a:schemeClr val="bg1"/>
                </a:solidFill>
                <a:latin typeface="Arial"/>
                <a:cs typeface="Arial"/>
              </a:rPr>
              <a:t>About Capgemini and Sogeti</a:t>
            </a:r>
            <a:endParaRPr lang="en-US" sz="1400" b="1" dirty="0" smtClean="0">
              <a:solidFill>
                <a:schemeClr val="bg1"/>
              </a:solidFill>
              <a:latin typeface="Arial" pitchFamily="34" charset="0"/>
              <a:cs typeface="Arial" pitchFamily="34" charset="0"/>
            </a:endParaRPr>
          </a:p>
          <a:p>
            <a:pPr marL="0" indent="0" algn="l"/>
            <a:endParaRPr lang="en-US" sz="1000" dirty="0" smtClean="0">
              <a:solidFill>
                <a:schemeClr val="bg1"/>
              </a:solidFill>
              <a:latin typeface="Arial" pitchFamily="34" charset="0"/>
              <a:cs typeface="Arial" pitchFamily="34" charset="0"/>
            </a:endParaRPr>
          </a:p>
          <a:p>
            <a:pPr marL="0" indent="0" algn="l">
              <a:spcAft>
                <a:spcPts val="300"/>
              </a:spcAft>
            </a:pPr>
            <a:r>
              <a:rPr lang="en-US" sz="800" b="0" dirty="0" smtClean="0">
                <a:solidFill>
                  <a:schemeClr val="bg1"/>
                </a:solidFill>
                <a:latin typeface="Arial" pitchFamily="34" charset="0"/>
                <a:cs typeface="Arial" pitchFamily="34" charset="0"/>
              </a:rPr>
              <a:t>With more than 130,000 people in over 40 countries, Capgemini is one of the world’s foremost providers of consulting, technology and outsourcing services. The Group reported 2013 global revenues of EUR 10.1 billion. Together with its clients, Capgemini creates and delivers business and technology solutions that fit their needs and drive the results they want. A deeply multicultural organization, Capgemini has developed its own way of working, the Collaborative Business Experience™ and draws on </a:t>
            </a:r>
            <a:r>
              <a:rPr lang="en-US" sz="800" b="0" dirty="0" err="1" smtClean="0">
                <a:solidFill>
                  <a:schemeClr val="bg1"/>
                </a:solidFill>
                <a:latin typeface="Arial" pitchFamily="34" charset="0"/>
                <a:cs typeface="Arial" pitchFamily="34" charset="0"/>
              </a:rPr>
              <a:t>Rightshore</a:t>
            </a:r>
            <a:r>
              <a:rPr lang="en-US" sz="800" b="0" baseline="30000" dirty="0" smtClean="0">
                <a:solidFill>
                  <a:schemeClr val="bg1"/>
                </a:solidFill>
                <a:latin typeface="Arial" pitchFamily="34" charset="0"/>
                <a:cs typeface="Arial" pitchFamily="34" charset="0"/>
              </a:rPr>
              <a:t>®</a:t>
            </a:r>
            <a:r>
              <a:rPr lang="en-US" sz="800" b="0" dirty="0" smtClean="0">
                <a:solidFill>
                  <a:schemeClr val="bg1"/>
                </a:solidFill>
                <a:latin typeface="Arial" pitchFamily="34" charset="0"/>
                <a:cs typeface="Arial" pitchFamily="34" charset="0"/>
              </a:rPr>
              <a:t>, its worldwide delivery model.</a:t>
            </a:r>
          </a:p>
          <a:p>
            <a:pPr marL="0" indent="0" algn="l">
              <a:spcAft>
                <a:spcPts val="300"/>
              </a:spcAft>
            </a:pPr>
            <a:r>
              <a:rPr lang="en-US" sz="800" b="0" dirty="0" err="1" smtClean="0">
                <a:solidFill>
                  <a:schemeClr val="bg1"/>
                </a:solidFill>
                <a:latin typeface="Arial" pitchFamily="34" charset="0"/>
                <a:cs typeface="Arial" pitchFamily="34" charset="0"/>
              </a:rPr>
              <a:t>Sogeti</a:t>
            </a:r>
            <a:r>
              <a:rPr lang="en-US" sz="800" b="0" dirty="0" smtClean="0">
                <a:solidFill>
                  <a:schemeClr val="bg1"/>
                </a:solidFill>
                <a:latin typeface="Arial" pitchFamily="34" charset="0"/>
                <a:cs typeface="Arial" pitchFamily="34" charset="0"/>
              </a:rPr>
              <a:t> is a leading provider of technology and software testing, specializing in Application, Infrastructure and Engineering Services. </a:t>
            </a:r>
            <a:r>
              <a:rPr lang="en-US" sz="800" b="0" dirty="0" err="1" smtClean="0">
                <a:solidFill>
                  <a:schemeClr val="bg1"/>
                </a:solidFill>
                <a:latin typeface="Arial" pitchFamily="34" charset="0"/>
                <a:cs typeface="Arial" pitchFamily="34" charset="0"/>
              </a:rPr>
              <a:t>Sogeti</a:t>
            </a:r>
            <a:r>
              <a:rPr lang="en-US" sz="800" b="0" dirty="0" smtClean="0">
                <a:solidFill>
                  <a:schemeClr val="bg1"/>
                </a:solidFill>
                <a:latin typeface="Arial" pitchFamily="34" charset="0"/>
                <a:cs typeface="Arial" pitchFamily="34" charset="0"/>
              </a:rPr>
              <a:t> offers cutting-edge solutions around Testing, Business Intelligence &amp; Analytics, Mobile, Cloud and Cyber Security. </a:t>
            </a:r>
            <a:r>
              <a:rPr lang="en-US" sz="800" b="0" dirty="0" err="1" smtClean="0">
                <a:solidFill>
                  <a:schemeClr val="bg1"/>
                </a:solidFill>
                <a:latin typeface="Arial" pitchFamily="34" charset="0"/>
                <a:cs typeface="Arial" pitchFamily="34" charset="0"/>
              </a:rPr>
              <a:t>Sogeti</a:t>
            </a:r>
            <a:r>
              <a:rPr lang="en-US" sz="800" b="0" dirty="0" smtClean="0">
                <a:solidFill>
                  <a:schemeClr val="bg1"/>
                </a:solidFill>
                <a:latin typeface="Arial" pitchFamily="34" charset="0"/>
                <a:cs typeface="Arial" pitchFamily="34" charset="0"/>
              </a:rPr>
              <a:t> brings together more than 20,000 professionals in 15 countries and has a strong local presence in over 100 locations in Europe, USA and India. </a:t>
            </a:r>
            <a:r>
              <a:rPr lang="en-US" sz="800" b="0" dirty="0" err="1" smtClean="0">
                <a:solidFill>
                  <a:schemeClr val="bg1"/>
                </a:solidFill>
                <a:latin typeface="Arial" pitchFamily="34" charset="0"/>
                <a:cs typeface="Arial" pitchFamily="34" charset="0"/>
              </a:rPr>
              <a:t>Sogeti</a:t>
            </a:r>
            <a:r>
              <a:rPr lang="en-US" sz="800" b="0" dirty="0" smtClean="0">
                <a:solidFill>
                  <a:schemeClr val="bg1"/>
                </a:solidFill>
                <a:latin typeface="Arial" pitchFamily="34" charset="0"/>
                <a:cs typeface="Arial" pitchFamily="34" charset="0"/>
              </a:rPr>
              <a:t> is a wholly-owned subsidiary of Cap Gemini S.A., listed on the Paris Stock Exchange.</a:t>
            </a:r>
          </a:p>
        </p:txBody>
      </p:sp>
      <p:sp>
        <p:nvSpPr>
          <p:cNvPr id="8" name="Rectangle 7"/>
          <p:cNvSpPr>
            <a:spLocks noChangeArrowheads="1"/>
          </p:cNvSpPr>
          <p:nvPr userDrawn="1">
            <p:custDataLst>
              <p:tags r:id="rId3"/>
            </p:custDataLst>
          </p:nvPr>
        </p:nvSpPr>
        <p:spPr bwMode="gray">
          <a:xfrm>
            <a:off x="5516881" y="3660507"/>
            <a:ext cx="3885882" cy="1821381"/>
          </a:xfrm>
          <a:prstGeom prst="rect">
            <a:avLst/>
          </a:prstGeom>
          <a:noFill/>
          <a:ln w="19050" cap="flat" cmpd="sng" algn="ctr">
            <a:noFill/>
            <a:prstDash val="solid"/>
            <a:round/>
          </a:ln>
          <a:effectLst/>
        </p:spPr>
        <p:txBody>
          <a:bodyPr wrap="square" lIns="0" tIns="0" rIns="0" bIns="0" rtlCol="0" anchor="t"/>
          <a:lstStyle/>
          <a:p>
            <a:pPr marL="0" indent="0" algn="l">
              <a:spcAft>
                <a:spcPts val="300"/>
              </a:spcAft>
            </a:pPr>
            <a:r>
              <a:rPr lang="en-US" sz="800" b="0" dirty="0" smtClean="0">
                <a:solidFill>
                  <a:schemeClr val="bg1"/>
                </a:solidFill>
                <a:latin typeface="Arial" pitchFamily="34" charset="0"/>
                <a:cs typeface="Arial" pitchFamily="34" charset="0"/>
              </a:rPr>
              <a:t>Together Capgemini and </a:t>
            </a:r>
            <a:r>
              <a:rPr lang="en-US" sz="800" b="0" dirty="0" err="1" smtClean="0">
                <a:solidFill>
                  <a:schemeClr val="bg1"/>
                </a:solidFill>
                <a:latin typeface="Arial" pitchFamily="34" charset="0"/>
                <a:cs typeface="Arial" pitchFamily="34" charset="0"/>
              </a:rPr>
              <a:t>Sogeti</a:t>
            </a:r>
            <a:r>
              <a:rPr lang="en-US" sz="800" b="0" dirty="0" smtClean="0">
                <a:solidFill>
                  <a:schemeClr val="bg1"/>
                </a:solidFill>
                <a:latin typeface="Arial" pitchFamily="34" charset="0"/>
                <a:cs typeface="Arial" pitchFamily="34" charset="0"/>
              </a:rPr>
              <a:t> have developed innovative, business-driven quality assurance (QA) and Testing services, combining best-in-class testing methodologies (</a:t>
            </a:r>
            <a:r>
              <a:rPr lang="en-US" sz="800" b="0" dirty="0" err="1" smtClean="0">
                <a:solidFill>
                  <a:schemeClr val="bg1"/>
                </a:solidFill>
                <a:latin typeface="Arial" pitchFamily="34" charset="0"/>
                <a:cs typeface="Arial" pitchFamily="34" charset="0"/>
              </a:rPr>
              <a:t>TMap</a:t>
            </a:r>
            <a:r>
              <a:rPr lang="en-US" sz="800" b="0" baseline="30000" dirty="0" smtClean="0">
                <a:solidFill>
                  <a:schemeClr val="bg1"/>
                </a:solidFill>
                <a:latin typeface="Arial" pitchFamily="34" charset="0"/>
                <a:cs typeface="Arial" pitchFamily="34" charset="0"/>
              </a:rPr>
              <a:t>®</a:t>
            </a:r>
            <a:r>
              <a:rPr lang="en-US" sz="800" b="0" dirty="0" smtClean="0">
                <a:solidFill>
                  <a:schemeClr val="bg1"/>
                </a:solidFill>
                <a:latin typeface="Arial" pitchFamily="34" charset="0"/>
                <a:cs typeface="Arial" pitchFamily="34" charset="0"/>
              </a:rPr>
              <a:t> and TPI</a:t>
            </a:r>
            <a:r>
              <a:rPr lang="en-US" sz="800" b="0" baseline="30000" dirty="0" smtClean="0">
                <a:solidFill>
                  <a:schemeClr val="bg1"/>
                </a:solidFill>
                <a:latin typeface="Arial" pitchFamily="34" charset="0"/>
                <a:cs typeface="Arial" pitchFamily="34" charset="0"/>
              </a:rPr>
              <a:t>®</a:t>
            </a:r>
            <a:r>
              <a:rPr lang="en-US" sz="800" b="0" dirty="0" smtClean="0">
                <a:solidFill>
                  <a:schemeClr val="bg1"/>
                </a:solidFill>
                <a:latin typeface="Arial" pitchFamily="34" charset="0"/>
                <a:cs typeface="Arial" pitchFamily="34" charset="0"/>
              </a:rPr>
              <a:t>) to help organizations achieve their testing and QA goals. The Capgemini Group has created one of the largest dedicated testing practices in the world, with over 12,300 test professionals and a further 14,500 application specialists with Testing experience, notably through a common centers of excellence with testing specialists developed in India and elsewhere.</a:t>
            </a:r>
          </a:p>
          <a:p>
            <a:pPr marL="0" indent="0" algn="l">
              <a:spcAft>
                <a:spcPts val="600"/>
              </a:spcAft>
            </a:pPr>
            <a:endParaRPr lang="en-US" sz="800" b="0" dirty="0" smtClean="0">
              <a:solidFill>
                <a:schemeClr val="bg1"/>
              </a:solidFill>
              <a:latin typeface="Arial" pitchFamily="34" charset="0"/>
              <a:cs typeface="Arial" pitchFamily="34" charset="0"/>
            </a:endParaRPr>
          </a:p>
          <a:p>
            <a:pPr marL="0" indent="0" algn="l">
              <a:spcAft>
                <a:spcPts val="600"/>
              </a:spcAft>
            </a:pPr>
            <a:endParaRPr lang="en-US" sz="800" b="0" dirty="0" smtClean="0">
              <a:solidFill>
                <a:schemeClr val="bg1"/>
              </a:solidFill>
              <a:latin typeface="Arial" pitchFamily="34" charset="0"/>
              <a:cs typeface="Arial" pitchFamily="34" charset="0"/>
            </a:endParaRPr>
          </a:p>
          <a:p>
            <a:pPr marL="0" indent="0" algn="l">
              <a:spcAft>
                <a:spcPts val="300"/>
              </a:spcAft>
            </a:pPr>
            <a:endParaRPr lang="en-US" sz="800" b="0" dirty="0" smtClean="0">
              <a:solidFill>
                <a:schemeClr val="bg1"/>
              </a:solidFill>
              <a:latin typeface="Arial" pitchFamily="34" charset="0"/>
              <a:cs typeface="Arial" pitchFamily="34" charset="0"/>
            </a:endParaRPr>
          </a:p>
          <a:p>
            <a:pPr marL="0" indent="0" algn="l">
              <a:spcAft>
                <a:spcPts val="300"/>
              </a:spcAft>
            </a:pPr>
            <a:r>
              <a:rPr lang="en-US" sz="700" b="0" dirty="0" smtClean="0">
                <a:solidFill>
                  <a:schemeClr val="bg1"/>
                </a:solidFill>
                <a:latin typeface="Arial" pitchFamily="34" charset="0"/>
                <a:cs typeface="Arial" pitchFamily="34" charset="0"/>
              </a:rPr>
              <a:t>TMap</a:t>
            </a:r>
            <a:r>
              <a:rPr lang="en-US" sz="700" b="0" baseline="30000" dirty="0" smtClean="0">
                <a:solidFill>
                  <a:schemeClr val="bg1"/>
                </a:solidFill>
                <a:latin typeface="Arial" pitchFamily="34" charset="0"/>
                <a:cs typeface="Arial" pitchFamily="34" charset="0"/>
              </a:rPr>
              <a:t>®</a:t>
            </a:r>
            <a:r>
              <a:rPr lang="en-US" sz="700" b="0" dirty="0" smtClean="0">
                <a:solidFill>
                  <a:schemeClr val="bg1"/>
                </a:solidFill>
                <a:latin typeface="Arial" pitchFamily="34" charset="0"/>
                <a:cs typeface="Arial" pitchFamily="34" charset="0"/>
              </a:rPr>
              <a:t>, TMap NEXT</a:t>
            </a:r>
            <a:r>
              <a:rPr lang="en-US" sz="700" b="0" baseline="30000" dirty="0" smtClean="0">
                <a:solidFill>
                  <a:schemeClr val="bg1"/>
                </a:solidFill>
                <a:latin typeface="Arial" pitchFamily="34" charset="0"/>
                <a:cs typeface="Arial" pitchFamily="34" charset="0"/>
              </a:rPr>
              <a:t>®</a:t>
            </a:r>
            <a:r>
              <a:rPr lang="en-US" sz="700" b="0" dirty="0" smtClean="0">
                <a:solidFill>
                  <a:schemeClr val="bg1"/>
                </a:solidFill>
                <a:latin typeface="Arial" pitchFamily="34" charset="0"/>
                <a:cs typeface="Arial" pitchFamily="34" charset="0"/>
              </a:rPr>
              <a:t>, TPI</a:t>
            </a:r>
            <a:r>
              <a:rPr lang="en-US" sz="700" b="0" baseline="30000" dirty="0" smtClean="0">
                <a:solidFill>
                  <a:schemeClr val="bg1"/>
                </a:solidFill>
                <a:latin typeface="Arial" pitchFamily="34" charset="0"/>
                <a:cs typeface="Arial" pitchFamily="34" charset="0"/>
              </a:rPr>
              <a:t>®</a:t>
            </a:r>
            <a:r>
              <a:rPr lang="en-US" sz="700" b="0" dirty="0" smtClean="0">
                <a:solidFill>
                  <a:schemeClr val="bg1"/>
                </a:solidFill>
                <a:latin typeface="Arial" pitchFamily="34" charset="0"/>
                <a:cs typeface="Arial" pitchFamily="34" charset="0"/>
              </a:rPr>
              <a:t> and TPI NEXT</a:t>
            </a:r>
            <a:r>
              <a:rPr lang="en-US" sz="700" b="0" baseline="30000" dirty="0" smtClean="0">
                <a:solidFill>
                  <a:schemeClr val="bg1"/>
                </a:solidFill>
                <a:latin typeface="Arial" pitchFamily="34" charset="0"/>
                <a:cs typeface="Arial" pitchFamily="34" charset="0"/>
              </a:rPr>
              <a:t>®</a:t>
            </a:r>
            <a:r>
              <a:rPr lang="en-US" sz="700" b="0" dirty="0" smtClean="0">
                <a:solidFill>
                  <a:schemeClr val="bg1"/>
                </a:solidFill>
                <a:latin typeface="Arial" pitchFamily="34" charset="0"/>
                <a:cs typeface="Arial" pitchFamily="34" charset="0"/>
              </a:rPr>
              <a:t> are registered trademarks of Sogeti, part of the Capgemini Group.</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7" name="Picture 4" descr="D:\My Work\GSLs\TEMPLATES\Testing_KIT\Testing\2014\NEW\78741000_Testing_PPT.jpg"/>
          <p:cNvPicPr>
            <a:picLocks noChangeAspect="1" noChangeArrowheads="1"/>
          </p:cNvPicPr>
          <p:nvPr userDrawn="1"/>
        </p:nvPicPr>
        <p:blipFill>
          <a:blip r:embed="rId5" cstate="print"/>
          <a:stretch>
            <a:fillRect/>
          </a:stretch>
        </p:blipFill>
        <p:spPr bwMode="auto">
          <a:xfrm>
            <a:off x="0" y="1997274"/>
            <a:ext cx="9902952" cy="5570410"/>
          </a:xfrm>
          <a:prstGeom prst="rect">
            <a:avLst/>
          </a:prstGeom>
          <a:noFill/>
          <a:ln>
            <a:noFill/>
          </a:ln>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77507" name="think-cell Slide" r:id="rId6" imgW="360" imgH="360" progId="">
              <p:embed/>
            </p:oleObj>
          </a:graphicData>
        </a:graphic>
      </p:graphicFrame>
      <p:sp>
        <p:nvSpPr>
          <p:cNvPr id="4" name="Rectangle 7"/>
          <p:cNvSpPr/>
          <p:nvPr userDrawn="1">
            <p:custDataLst>
              <p:tags r:id="rId2"/>
            </p:custDataLst>
          </p:nvPr>
        </p:nvSpPr>
        <p:spPr bwMode="auto">
          <a:xfrm>
            <a:off x="-2054" y="-1"/>
            <a:ext cx="9908535" cy="290404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 name="connsiteX0" fmla="*/ 258704 w 10562585"/>
              <a:gd name="connsiteY0" fmla="*/ 884357 h 3670550"/>
              <a:gd name="connsiteX1" fmla="*/ 10562072 w 10562585"/>
              <a:gd name="connsiteY1" fmla="*/ 0 h 3670550"/>
              <a:gd name="connsiteX2" fmla="*/ 10561157 w 10562585"/>
              <a:gd name="connsiteY2" fmla="*/ 2188720 h 3670550"/>
              <a:gd name="connsiteX3" fmla="*/ 9288594 w 10562585"/>
              <a:gd name="connsiteY3" fmla="*/ 2865485 h 3670550"/>
              <a:gd name="connsiteX4" fmla="*/ 2317558 w 10562585"/>
              <a:gd name="connsiteY4" fmla="*/ 2871894 h 3670550"/>
              <a:gd name="connsiteX5" fmla="*/ 1180889 w 10562585"/>
              <a:gd name="connsiteY5" fmla="*/ 3670550 h 3670550"/>
              <a:gd name="connsiteX6" fmla="*/ 0 w 10562585"/>
              <a:gd name="connsiteY6" fmla="*/ 2886447 h 3670550"/>
              <a:gd name="connsiteX7" fmla="*/ 258704 w 10562585"/>
              <a:gd name="connsiteY7" fmla="*/ 884357 h 3670550"/>
              <a:gd name="connsiteX0" fmla="*/ 2189 w 10562585"/>
              <a:gd name="connsiteY0" fmla="*/ 468709 h 3670550"/>
              <a:gd name="connsiteX1" fmla="*/ 10562072 w 10562585"/>
              <a:gd name="connsiteY1" fmla="*/ 0 h 3670550"/>
              <a:gd name="connsiteX2" fmla="*/ 10561157 w 10562585"/>
              <a:gd name="connsiteY2" fmla="*/ 2188720 h 3670550"/>
              <a:gd name="connsiteX3" fmla="*/ 9288594 w 10562585"/>
              <a:gd name="connsiteY3" fmla="*/ 2865485 h 3670550"/>
              <a:gd name="connsiteX4" fmla="*/ 2317558 w 10562585"/>
              <a:gd name="connsiteY4" fmla="*/ 2871894 h 3670550"/>
              <a:gd name="connsiteX5" fmla="*/ 1180889 w 10562585"/>
              <a:gd name="connsiteY5" fmla="*/ 3670550 h 3670550"/>
              <a:gd name="connsiteX6" fmla="*/ 0 w 10562585"/>
              <a:gd name="connsiteY6" fmla="*/ 2886447 h 3670550"/>
              <a:gd name="connsiteX7" fmla="*/ 2189 w 10562585"/>
              <a:gd name="connsiteY7" fmla="*/ 468709 h 3670550"/>
              <a:gd name="connsiteX0" fmla="*/ 2189 w 10562411"/>
              <a:gd name="connsiteY0" fmla="*/ 0 h 3201841"/>
              <a:gd name="connsiteX1" fmla="*/ 10198231 w 10562411"/>
              <a:gd name="connsiteY1" fmla="*/ 371431 h 3201841"/>
              <a:gd name="connsiteX2" fmla="*/ 10561157 w 10562411"/>
              <a:gd name="connsiteY2" fmla="*/ 1720011 h 3201841"/>
              <a:gd name="connsiteX3" fmla="*/ 9288594 w 10562411"/>
              <a:gd name="connsiteY3" fmla="*/ 2396776 h 3201841"/>
              <a:gd name="connsiteX4" fmla="*/ 2317558 w 10562411"/>
              <a:gd name="connsiteY4" fmla="*/ 2403185 h 3201841"/>
              <a:gd name="connsiteX5" fmla="*/ 1180889 w 10562411"/>
              <a:gd name="connsiteY5" fmla="*/ 3201841 h 3201841"/>
              <a:gd name="connsiteX6" fmla="*/ 0 w 10562411"/>
              <a:gd name="connsiteY6" fmla="*/ 2417738 h 3201841"/>
              <a:gd name="connsiteX7" fmla="*/ 2189 w 10562411"/>
              <a:gd name="connsiteY7" fmla="*/ 0 h 3201841"/>
              <a:gd name="connsiteX0" fmla="*/ 2189 w 10562586"/>
              <a:gd name="connsiteY0" fmla="*/ 1 h 3201842"/>
              <a:gd name="connsiteX1" fmla="*/ 10562073 w 10562586"/>
              <a:gd name="connsiteY1" fmla="*/ 0 h 3201842"/>
              <a:gd name="connsiteX2" fmla="*/ 10561157 w 10562586"/>
              <a:gd name="connsiteY2" fmla="*/ 1720012 h 3201842"/>
              <a:gd name="connsiteX3" fmla="*/ 9288594 w 10562586"/>
              <a:gd name="connsiteY3" fmla="*/ 2396777 h 3201842"/>
              <a:gd name="connsiteX4" fmla="*/ 2317558 w 10562586"/>
              <a:gd name="connsiteY4" fmla="*/ 2403186 h 3201842"/>
              <a:gd name="connsiteX5" fmla="*/ 1180889 w 10562586"/>
              <a:gd name="connsiteY5" fmla="*/ 3201842 h 3201842"/>
              <a:gd name="connsiteX6" fmla="*/ 0 w 10562586"/>
              <a:gd name="connsiteY6" fmla="*/ 2417739 h 3201842"/>
              <a:gd name="connsiteX7" fmla="*/ 2189 w 10562586"/>
              <a:gd name="connsiteY7" fmla="*/ 1 h 320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6" h="3201842">
                <a:moveTo>
                  <a:pt x="2189" y="1"/>
                </a:moveTo>
                <a:lnTo>
                  <a:pt x="10562073" y="0"/>
                </a:lnTo>
                <a:cubicBezTo>
                  <a:pt x="10562586" y="67600"/>
                  <a:pt x="10562411" y="1676597"/>
                  <a:pt x="10561157" y="1720012"/>
                </a:cubicBezTo>
                <a:cubicBezTo>
                  <a:pt x="10083761" y="2392021"/>
                  <a:pt x="9705180" y="2402097"/>
                  <a:pt x="9288594" y="2396777"/>
                </a:cubicBezTo>
                <a:lnTo>
                  <a:pt x="2317558" y="2403186"/>
                </a:lnTo>
                <a:cubicBezTo>
                  <a:pt x="1740344" y="2436328"/>
                  <a:pt x="1372498" y="2739020"/>
                  <a:pt x="1180889" y="3201842"/>
                </a:cubicBezTo>
                <a:cubicBezTo>
                  <a:pt x="882535" y="2498065"/>
                  <a:pt x="278640" y="2416861"/>
                  <a:pt x="0" y="2417739"/>
                </a:cubicBezTo>
                <a:cubicBezTo>
                  <a:pt x="2067" y="2382226"/>
                  <a:pt x="3461" y="95583"/>
                  <a:pt x="2189" y="1"/>
                </a:cubicBezTo>
                <a:close/>
              </a:path>
            </a:pathLst>
          </a:custGeom>
          <a:solidFill>
            <a:schemeClr val="bg2"/>
          </a:solidFill>
          <a:ln w="12700" cmpd="sng" algn="ctr">
            <a:noFill/>
            <a:miter lim="800000"/>
            <a:headEnd/>
            <a:tailEnd/>
          </a:ln>
          <a:effectLst>
            <a:outerShdw blurRad="50800" dist="25400" dir="5400000" algn="t" rotWithShape="0">
              <a:prstClr val="black">
                <a:alpha val="40000"/>
              </a:prst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542685"/>
            <a:ext cx="9906000" cy="1143240"/>
          </a:xfrm>
          <a:prstGeom prst="rect">
            <a:avLst/>
          </a:prstGeom>
        </p:spPr>
        <p:txBody>
          <a:bodyPr lIns="330588" tIns="33059" rIns="33059" bIns="33059" anchor="ctr" anchorCtr="0"/>
          <a:lstStyle>
            <a:lvl1pPr algn="l">
              <a:defRPr sz="4000">
                <a:solidFill>
                  <a:schemeClr val="accent3"/>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Agenda (Option 1)">
    <p:spTree>
      <p:nvGrpSpPr>
        <p:cNvPr id="1" name=""/>
        <p:cNvGrpSpPr/>
        <p:nvPr/>
      </p:nvGrpSpPr>
      <p:grpSpPr>
        <a:xfrm>
          <a:off x="0" y="0"/>
          <a:ext cx="0" cy="0"/>
          <a:chOff x="0" y="0"/>
          <a:chExt cx="0" cy="0"/>
        </a:xfrm>
      </p:grpSpPr>
      <p:sp>
        <p:nvSpPr>
          <p:cNvPr id="8" name="Rectangle 7"/>
          <p:cNvSpPr/>
          <p:nvPr userDrawn="1"/>
        </p:nvSpPr>
        <p:spPr bwMode="auto">
          <a:xfrm>
            <a:off x="0" y="0"/>
            <a:ext cx="9906000" cy="6359838"/>
          </a:xfrm>
          <a:prstGeom prst="rect">
            <a:avLst/>
          </a:prstGeom>
          <a:solidFill>
            <a:schemeClr val="accent6">
              <a:lumMod val="20000"/>
              <a:lumOff val="80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mn-lt"/>
              <a:cs typeface="Arial" charset="0"/>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260099" name="think-cell Slide" r:id="rId6" imgW="360" imgH="360" progId="">
              <p:embed/>
            </p:oleObj>
          </a:graphicData>
        </a:graphic>
      </p:graphicFrame>
      <p:sp>
        <p:nvSpPr>
          <p:cNvPr id="2" name="Titre 1"/>
          <p:cNvSpPr>
            <a:spLocks noGrp="1"/>
          </p:cNvSpPr>
          <p:nvPr>
            <p:ph type="title" hasCustomPrompt="1"/>
            <p:custDataLst>
              <p:tags r:id="rId2"/>
            </p:custDataLst>
          </p:nvPr>
        </p:nvSpPr>
        <p:spPr>
          <a:effectLst/>
        </p:spPr>
        <p:txBody>
          <a:bodyPr/>
          <a:lstStyle>
            <a:lvl1pPr>
              <a:defRPr>
                <a:solidFill>
                  <a:schemeClr val="accent1"/>
                </a:solidFill>
                <a:effectLst/>
              </a:defRPr>
            </a:lvl1p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3"/>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p:custDataLst>
              <p:tags r:id="rId4"/>
            </p:custDataLst>
          </p:nvPr>
        </p:nvSpPr>
        <p:spPr>
          <a:xfrm>
            <a:off x="341313" y="1495425"/>
            <a:ext cx="6845550" cy="2956803"/>
          </a:xfrm>
        </p:spPr>
        <p:txBody>
          <a:bodyPr lIns="91440"/>
          <a:lstStyle>
            <a:lvl1pPr marL="228600" indent="-228600">
              <a:spcAft>
                <a:spcPts val="1200"/>
              </a:spcAft>
              <a:buClr>
                <a:schemeClr val="accent1"/>
              </a:buClr>
              <a:defRPr sz="2400">
                <a:solidFill>
                  <a:schemeClr val="tx1"/>
                </a:solidFill>
              </a:defRPr>
            </a:lvl1pPr>
            <a:lvl2pPr marL="457200" indent="-228600">
              <a:spcAft>
                <a:spcPts val="1200"/>
              </a:spcAft>
              <a:buClr>
                <a:schemeClr val="accent1"/>
              </a:buClr>
              <a:defRPr sz="2200">
                <a:solidFill>
                  <a:schemeClr val="tx1"/>
                </a:solidFill>
              </a:defRPr>
            </a:lvl2pPr>
            <a:lvl3pPr marL="685800" indent="-228600">
              <a:spcAft>
                <a:spcPts val="1200"/>
              </a:spcAft>
              <a:buClr>
                <a:schemeClr val="accent1"/>
              </a:buClr>
              <a:defRPr sz="2000">
                <a:solidFill>
                  <a:schemeClr val="tx1"/>
                </a:solidFill>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p:txBody>
      </p:sp>
      <p:pic>
        <p:nvPicPr>
          <p:cNvPr id="9" name="Picture 4" descr="D:\Users\jkanade\Documents\Royal_Mail.svg.png"/>
          <p:cNvPicPr>
            <a:picLocks noChangeAspect="1" noChangeArrowheads="1"/>
          </p:cNvPicPr>
          <p:nvPr userDrawn="1"/>
        </p:nvPicPr>
        <p:blipFill>
          <a:blip r:embed="rId7" cstate="print"/>
          <a:srcRect/>
          <a:stretch>
            <a:fillRect/>
          </a:stretch>
        </p:blipFill>
        <p:spPr bwMode="auto">
          <a:xfrm>
            <a:off x="8188957" y="85728"/>
            <a:ext cx="1207326" cy="871538"/>
          </a:xfrm>
          <a:prstGeom prst="rect">
            <a:avLst/>
          </a:prstGeom>
          <a:noFill/>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787"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3"/>
            </p:custDataLst>
          </p:nvPr>
        </p:nvSpPr>
        <p:spPr>
          <a:xfrm>
            <a:off x="341313" y="1495425"/>
            <a:ext cx="9223375" cy="4772025"/>
          </a:xfrm>
        </p:spPr>
        <p:txBody>
          <a:bodyPr/>
          <a:lstStyle>
            <a:lvl1pPr>
              <a:defRPr b="0"/>
            </a:lvl1pPr>
            <a:lvl2pPr marL="457200" indent="-228600">
              <a:defRPr/>
            </a:lvl2pPr>
            <a:lvl3pPr marL="685800" indent="-228600">
              <a:defRPr/>
            </a:lvl3pPr>
            <a:lvl4pPr>
              <a:defRPr/>
            </a:lvl4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811" name="think-cell Slide" r:id="rId6"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p:custDataLst>
              <p:tags r:id="rId3"/>
            </p:custDataLst>
          </p:nvPr>
        </p:nvSpPr>
        <p:spPr>
          <a:xfrm>
            <a:off x="341313" y="2045369"/>
            <a:ext cx="9223376" cy="4222082"/>
          </a:xfrm>
        </p:spPr>
        <p:txBody>
          <a:bodyPr/>
          <a:lstStyle>
            <a:lvl1pPr>
              <a:defRPr b="0"/>
            </a:lvl1pPr>
            <a:lvl2pPr marL="457200" indent="-223838">
              <a:defRPr/>
            </a:lvl2pPr>
            <a:lvl3pPr>
              <a:defRPr/>
            </a:lvl3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custDataLst>
              <p:tags r:id="rId4"/>
            </p:custDataLst>
          </p:nvPr>
        </p:nvSpPr>
        <p:spPr>
          <a:xfrm>
            <a:off x="341313" y="1495425"/>
            <a:ext cx="9223376" cy="548640"/>
          </a:xfrm>
        </p:spPr>
        <p:txBody>
          <a:bodyPr/>
          <a:lstStyle>
            <a:lvl1pPr marL="0" indent="0">
              <a:buNone/>
              <a:defRPr sz="2000" b="1">
                <a:solidFill>
                  <a:schemeClr val="accent2"/>
                </a:solidFill>
              </a:defRPr>
            </a:lvl1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3906"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41313" y="1495425"/>
            <a:ext cx="4487862" cy="4753518"/>
          </a:xfrm>
        </p:spPr>
        <p:txBody>
          <a:bodyPr/>
          <a:lstStyle>
            <a:lvl1pPr>
              <a:defRPr/>
            </a:lvl1pPr>
            <a:lvl2pPr marL="457200" indent="-228600">
              <a:defRPr/>
            </a:lvl2pPr>
            <a:lvl3pPr marL="685800" indent="-228600">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5076825" y="1495426"/>
            <a:ext cx="4487863" cy="4772024"/>
          </a:xfrm>
        </p:spPr>
        <p:txBody>
          <a:bodyPr/>
          <a:lstStyle>
            <a:lvl1pPr>
              <a:defRPr/>
            </a:lvl1pPr>
            <a:lvl2pPr marL="457200" indent="-228600">
              <a:defRPr/>
            </a:lvl2pPr>
            <a:lvl3pPr>
              <a:defRPr/>
            </a:lvl3pPr>
            <a:lvl4pPr>
              <a:defRPr/>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122882" name="think-cell Slide" r:id="rId8"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p:custDataLst>
              <p:tags r:id="rId3"/>
            </p:custDataLst>
          </p:nvPr>
        </p:nvSpPr>
        <p:spPr>
          <a:xfrm>
            <a:off x="341313" y="2045368"/>
            <a:ext cx="4487862" cy="4222082"/>
          </a:xfrm>
        </p:spPr>
        <p:txBody>
          <a:bodyPr/>
          <a:lstStyle>
            <a:lvl1pPr>
              <a:defRPr sz="2000"/>
            </a:lvl1pPr>
            <a:lvl2pPr marL="457200" indent="-223838">
              <a:defRPr sz="1800"/>
            </a:lvl2pPr>
            <a:lvl3pPr>
              <a:defRPr sz="1600"/>
            </a:lvl3pPr>
            <a:lvl4pPr>
              <a:defRPr sz="14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custDataLst>
              <p:tags r:id="rId4"/>
            </p:custDataLst>
          </p:nvPr>
        </p:nvSpPr>
        <p:spPr>
          <a:xfrm>
            <a:off x="5076825" y="2045368"/>
            <a:ext cx="4487863" cy="4222082"/>
          </a:xfrm>
        </p:spPr>
        <p:txBody>
          <a:bodyPr/>
          <a:lstStyle>
            <a:lvl1pPr>
              <a:defRPr sz="2000"/>
            </a:lvl1pPr>
            <a:lvl2pPr marL="457200" indent="-223838">
              <a:defRPr sz="1800"/>
            </a:lvl2pPr>
            <a:lvl3pPr>
              <a:defRPr sz="1600"/>
            </a:lvl3pPr>
            <a:lvl4pPr>
              <a:defRPr sz="13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hasCustomPrompt="1"/>
            <p:custDataLst>
              <p:tags r:id="rId5"/>
            </p:custDataLst>
          </p:nvPr>
        </p:nvSpPr>
        <p:spPr>
          <a:xfrm>
            <a:off x="341313" y="1495425"/>
            <a:ext cx="4487862" cy="548640"/>
          </a:xfrm>
        </p:spPr>
        <p:txBody>
          <a:bodyPr vert="horz" lIns="0" tIns="33059" rIns="33059" bIns="33059" rtlCol="0">
            <a:noAutofit/>
          </a:bodyPr>
          <a:lstStyle>
            <a:lvl1pPr algn="l">
              <a:buNone/>
              <a:defRPr lang="en-US" sz="1800" b="1" kern="1200" noProof="0" dirty="0" smtClean="0">
                <a:solidFill>
                  <a:schemeClr val="accent2"/>
                </a:solidFill>
                <a:latin typeface="+mn-lt"/>
                <a:ea typeface="+mn-ea"/>
                <a:cs typeface="+mn-cs"/>
              </a:defRPr>
            </a:lvl1pPr>
            <a:lvl5pPr>
              <a:buNone/>
              <a:defRPr/>
            </a:lvl5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
        <p:nvSpPr>
          <p:cNvPr id="9" name="Espace réservé du texte 8"/>
          <p:cNvSpPr>
            <a:spLocks noGrp="1"/>
          </p:cNvSpPr>
          <p:nvPr>
            <p:ph type="body" sz="quarter" idx="13" hasCustomPrompt="1"/>
            <p:custDataLst>
              <p:tags r:id="rId6"/>
            </p:custDataLst>
          </p:nvPr>
        </p:nvSpPr>
        <p:spPr>
          <a:xfrm>
            <a:off x="5076825" y="1495425"/>
            <a:ext cx="4487863" cy="548640"/>
          </a:xfrm>
        </p:spPr>
        <p:txBody>
          <a:bodyPr vert="horz" lIns="0" tIns="33059" rIns="33059" bIns="33059" rtlCol="0">
            <a:noAutofit/>
          </a:bodyPr>
          <a:lstStyle>
            <a:lvl1pPr algn="l">
              <a:buNone/>
              <a:defRPr lang="en-US" sz="1800" b="1" kern="1200" noProof="0" dirty="0" smtClean="0">
                <a:solidFill>
                  <a:schemeClr val="accent2"/>
                </a:solidFill>
                <a:latin typeface="+mn-lt"/>
                <a:ea typeface="+mn-ea"/>
                <a:cs typeface="+mn-cs"/>
              </a:defRPr>
            </a:lvl1pPr>
          </a:lstStyle>
          <a:p>
            <a:pPr marL="0" lvl="0" indent="0" algn="l" defTabSz="914342" rtl="0" eaLnBrk="1" latinLnBrk="0" hangingPunct="1">
              <a:spcBef>
                <a:spcPts val="0"/>
              </a:spcBef>
              <a:spcAft>
                <a:spcPts val="600"/>
              </a:spcAft>
              <a:buClr>
                <a:schemeClr val="accent5"/>
              </a:buClr>
              <a:buFont typeface="Wingdings" pitchFamily="2" charset="2"/>
              <a:buNone/>
            </a:pPr>
            <a:r>
              <a:rPr lang="en-US" noProof="0" dirty="0" smtClean="0"/>
              <a:t>Click to edit Master text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858"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pic>
        <p:nvPicPr>
          <p:cNvPr id="141316" name="Picture 4" descr="D:\My Work\GSLs\TEMPLATES\Testing_KIT\Testing\2014\NEW\78741000_Testing_PPT.jpg"/>
          <p:cNvPicPr>
            <a:picLocks noChangeAspect="1" noChangeArrowheads="1"/>
          </p:cNvPicPr>
          <p:nvPr userDrawn="1"/>
        </p:nvPicPr>
        <p:blipFill>
          <a:blip r:embed="rId5" cstate="print"/>
          <a:stretch>
            <a:fillRect/>
          </a:stretch>
        </p:blipFill>
        <p:spPr bwMode="auto">
          <a:xfrm>
            <a:off x="0" y="1997274"/>
            <a:ext cx="9902952" cy="5570410"/>
          </a:xfrm>
          <a:prstGeom prst="rect">
            <a:avLst/>
          </a:prstGeom>
          <a:noFill/>
          <a:ln>
            <a:noFill/>
          </a:ln>
        </p:spPr>
      </p:pic>
      <p:sp>
        <p:nvSpPr>
          <p:cNvPr id="17" name="Rectangle 7"/>
          <p:cNvSpPr/>
          <p:nvPr userDrawn="1">
            <p:custDataLst>
              <p:tags r:id="rId2"/>
            </p:custDataLst>
          </p:nvPr>
        </p:nvSpPr>
        <p:spPr bwMode="auto">
          <a:xfrm>
            <a:off x="-2052" y="0"/>
            <a:ext cx="990853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188506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188506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411"/>
              <a:gd name="connsiteY0" fmla="*/ 0 h 2958168"/>
              <a:gd name="connsiteX1" fmla="*/ 10322241 w 10562411"/>
              <a:gd name="connsiteY1" fmla="*/ 256464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2189 w 10562585"/>
              <a:gd name="connsiteY0" fmla="*/ 0 h 2958168"/>
              <a:gd name="connsiteX1" fmla="*/ 10562072 w 10562585"/>
              <a:gd name="connsiteY1" fmla="*/ 0 h 2958168"/>
              <a:gd name="connsiteX2" fmla="*/ 10561157 w 10562585"/>
              <a:gd name="connsiteY2" fmla="*/ 1476338 h 2958168"/>
              <a:gd name="connsiteX3" fmla="*/ 9288594 w 10562585"/>
              <a:gd name="connsiteY3" fmla="*/ 2153103 h 2958168"/>
              <a:gd name="connsiteX4" fmla="*/ 2317558 w 10562585"/>
              <a:gd name="connsiteY4" fmla="*/ 2159512 h 2958168"/>
              <a:gd name="connsiteX5" fmla="*/ 1180889 w 10562585"/>
              <a:gd name="connsiteY5" fmla="*/ 2958168 h 2958168"/>
              <a:gd name="connsiteX6" fmla="*/ 0 w 10562585"/>
              <a:gd name="connsiteY6" fmla="*/ 2174065 h 2958168"/>
              <a:gd name="connsiteX7" fmla="*/ 2189 w 10562585"/>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2958168">
                <a:moveTo>
                  <a:pt x="2189" y="0"/>
                </a:moveTo>
                <a:lnTo>
                  <a:pt x="10562072" y="0"/>
                </a:lnTo>
                <a:cubicBezTo>
                  <a:pt x="10562585"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3461" y="95582"/>
                  <a:pt x="2189" y="0"/>
                </a:cubicBezTo>
                <a:close/>
              </a:path>
            </a:pathLst>
          </a:custGeom>
          <a:solidFill>
            <a:schemeClr val="bg1"/>
          </a:solidFill>
          <a:ln w="12700" cmpd="sng" algn="ctr">
            <a:noFill/>
            <a:miter lim="800000"/>
            <a:headEnd/>
            <a:tailEnd/>
          </a:ln>
          <a:effectLst>
            <a:outerShdw blurRad="50800" dist="25400" dir="5400000" algn="t" rotWithShape="0">
              <a:srgbClr val="000000">
                <a:alpha val="40000"/>
              </a:srgb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321538" name="think-cell Slide" r:id="rId6" imgW="360" imgH="360" progId="">
              <p:embed/>
            </p:oleObj>
          </a:graphicData>
        </a:graphic>
      </p:graphicFrame>
      <p:pic>
        <p:nvPicPr>
          <p:cNvPr id="9" name="Picture 15" descr="Sogeti_Logo.png"/>
          <p:cNvPicPr>
            <a:picLocks noChangeAspect="1"/>
          </p:cNvPicPr>
          <p:nvPr userDrawn="1"/>
        </p:nvPicPr>
        <p:blipFill>
          <a:blip r:embed="rId7" cstate="print"/>
          <a:srcRect/>
          <a:stretch>
            <a:fillRect/>
          </a:stretch>
        </p:blipFill>
        <p:spPr bwMode="auto">
          <a:xfrm>
            <a:off x="6980238" y="727108"/>
            <a:ext cx="2305050" cy="502920"/>
          </a:xfrm>
          <a:prstGeom prst="rect">
            <a:avLst/>
          </a:prstGeom>
          <a:noFill/>
          <a:ln w="9525">
            <a:noFill/>
            <a:miter lim="800000"/>
            <a:headEnd/>
            <a:tailEnd/>
          </a:ln>
        </p:spPr>
      </p:pic>
      <p:pic>
        <p:nvPicPr>
          <p:cNvPr id="23" name="Picture 103" descr="C:\Users\UserSim\Desktop\Capgemini\Capgemini_logo_cmyk.png"/>
          <p:cNvPicPr>
            <a:picLocks noChangeAspect="1" noChangeArrowheads="1"/>
          </p:cNvPicPr>
          <p:nvPr userDrawn="1">
            <p:custDataLst>
              <p:tags r:id="rId3"/>
            </p:custDataLst>
          </p:nvPr>
        </p:nvPicPr>
        <p:blipFill>
          <a:blip r:embed="rId8" cstate="email"/>
          <a:srcRect/>
          <a:stretch>
            <a:fillRect/>
          </a:stretch>
        </p:blipFill>
        <p:spPr bwMode="auto">
          <a:xfrm>
            <a:off x="614363" y="693585"/>
            <a:ext cx="2422358" cy="569967"/>
          </a:xfrm>
          <a:prstGeom prst="rect">
            <a:avLst/>
          </a:prstGeom>
          <a:noFill/>
        </p:spPr>
      </p:pic>
      <p:pic>
        <p:nvPicPr>
          <p:cNvPr id="4" name="Picture 4" descr="D:\Users\jkanade\Documents\Royal_Mail.svg.png"/>
          <p:cNvPicPr>
            <a:picLocks noChangeAspect="1" noChangeArrowheads="1"/>
          </p:cNvPicPr>
          <p:nvPr userDrawn="1"/>
        </p:nvPicPr>
        <p:blipFill>
          <a:blip r:embed="rId9" cstate="print"/>
          <a:srcRect/>
          <a:stretch>
            <a:fillRect/>
          </a:stretch>
        </p:blipFill>
        <p:spPr bwMode="auto">
          <a:xfrm>
            <a:off x="3871912" y="257179"/>
            <a:ext cx="2117764" cy="1528761"/>
          </a:xfrm>
          <a:prstGeom prst="rect">
            <a:avLst/>
          </a:prstGeom>
          <a:noFill/>
        </p:spPr>
      </p:pic>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95300" y="6356351"/>
            <a:ext cx="2311400" cy="365125"/>
          </a:xfrm>
          <a:prstGeom prst="rect">
            <a:avLst/>
          </a:prstGeom>
        </p:spPr>
        <p:txBody>
          <a:bodyPr/>
          <a:lstStyle/>
          <a:p>
            <a:fld id="{E97C7362-7F71-4FFB-BF30-CA2C7117C340}" type="datetimeFigureOut">
              <a:rPr lang="en-US" smtClean="0"/>
              <a:pPr/>
              <a:t>6/9/2015</a:t>
            </a:fld>
            <a:endParaRPr lang="en-US"/>
          </a:p>
        </p:txBody>
      </p:sp>
      <p:sp>
        <p:nvSpPr>
          <p:cNvPr id="5" name="Footer Placeholder 4"/>
          <p:cNvSpPr>
            <a:spLocks noGrp="1"/>
          </p:cNvSpPr>
          <p:nvPr>
            <p:ph type="ftr" sz="quarter" idx="11"/>
          </p:nvPr>
        </p:nvSpPr>
        <p:spPr>
          <a:xfrm>
            <a:off x="2889250" y="6356351"/>
            <a:ext cx="36322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585200" y="6356351"/>
            <a:ext cx="825500" cy="365125"/>
          </a:xfrm>
          <a:prstGeom prst="rect">
            <a:avLst/>
          </a:prstGeom>
        </p:spPr>
        <p:txBody>
          <a:bodyPr/>
          <a:lstStyle/>
          <a:p>
            <a:fld id="{CD92F8A4-1E7F-4565-AED8-B1005D21BAAB}"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24"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tags" Target="../tags/tag4.xml"/><Relationship Id="rId23"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7.xml"/><Relationship Id="rId3" Type="http://schemas.openxmlformats.org/officeDocument/2006/relationships/vmlDrawing" Target="../drawings/vmlDrawing10.vml"/><Relationship Id="rId7" Type="http://schemas.openxmlformats.org/officeDocument/2006/relationships/tags" Target="../tags/tag36.xml"/><Relationship Id="rId2" Type="http://schemas.openxmlformats.org/officeDocument/2006/relationships/theme" Target="../theme/theme2.xml"/><Relationship Id="rId1" Type="http://schemas.openxmlformats.org/officeDocument/2006/relationships/slideLayout" Target="../slideLayouts/slideLayout11.xml"/><Relationship Id="rId6" Type="http://schemas.openxmlformats.org/officeDocument/2006/relationships/tags" Target="../tags/tag35.xml"/><Relationship Id="rId11" Type="http://schemas.openxmlformats.org/officeDocument/2006/relationships/image" Target="../media/image6.png"/><Relationship Id="rId5" Type="http://schemas.openxmlformats.org/officeDocument/2006/relationships/tags" Target="../tags/tag34.xml"/><Relationship Id="rId10" Type="http://schemas.openxmlformats.org/officeDocument/2006/relationships/image" Target="../media/image3.png"/><Relationship Id="rId4" Type="http://schemas.openxmlformats.org/officeDocument/2006/relationships/tags" Target="../tags/tag33.xml"/><Relationship Id="rId9" Type="http://schemas.openxmlformats.org/officeDocument/2006/relationships/oleObject" Target="../embeddings/oleObject10.bin"/></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12.vml"/><Relationship Id="rId2" Type="http://schemas.openxmlformats.org/officeDocument/2006/relationships/theme" Target="../theme/theme3.xml"/><Relationship Id="rId1" Type="http://schemas.openxmlformats.org/officeDocument/2006/relationships/slideLayout" Target="../slideLayouts/slideLayout12.xml"/><Relationship Id="rId4" Type="http://schemas.openxmlformats.org/officeDocument/2006/relationships/oleObject" Target="../embeddings/oleObject1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050" name="think-cell Slide" r:id="rId21" imgW="360" imgH="360" progId="">
              <p:embed/>
            </p:oleObj>
          </a:graphicData>
        </a:graphic>
      </p:graphicFrame>
      <p:sp>
        <p:nvSpPr>
          <p:cNvPr id="2" name="Title Placeholder 1"/>
          <p:cNvSpPr>
            <a:spLocks noGrp="1"/>
          </p:cNvSpPr>
          <p:nvPr>
            <p:ph type="title"/>
            <p:custDataLst>
              <p:tags r:id="rId13"/>
            </p:custDataLst>
          </p:nvPr>
        </p:nvSpPr>
        <p:spPr>
          <a:xfrm>
            <a:off x="341313" y="0"/>
            <a:ext cx="9564687" cy="1002135"/>
          </a:xfrm>
          <a:prstGeom prst="rect">
            <a:avLst/>
          </a:prstGeom>
          <a:effectLst/>
        </p:spPr>
        <p:txBody>
          <a:bodyPr vert="horz" lIns="0" tIns="0" rIns="0" bIns="0"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41313" y="1495424"/>
            <a:ext cx="9223375" cy="4772025"/>
          </a:xfrm>
          <a:prstGeom prst="rect">
            <a:avLst/>
          </a:prstGeom>
        </p:spPr>
        <p:txBody>
          <a:bodyPr vert="horz" lIns="0" tIns="33059" rIns="33059" bIns="33059"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1"/>
                </a:solidFill>
              </a:rPr>
              <a:pPr algn="ctr"/>
              <a:t>‹#›</a:t>
            </a:fld>
            <a:endParaRPr lang="en-US" sz="700" dirty="0">
              <a:solidFill>
                <a:schemeClr val="tx1"/>
              </a:solidFill>
            </a:endParaRPr>
          </a:p>
        </p:txBody>
      </p:sp>
      <p:sp>
        <p:nvSpPr>
          <p:cNvPr id="9" name="Freeform 4"/>
          <p:cNvSpPr>
            <a:spLocks/>
          </p:cNvSpPr>
          <p:nvPr>
            <p:custDataLst>
              <p:tags r:id="rId16"/>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3"/>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7"/>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kern="1200" noProof="0" dirty="0" smtClean="0">
                <a:solidFill>
                  <a:schemeClr val="tx1"/>
                </a:solidFill>
                <a:latin typeface="+mn-lt"/>
                <a:ea typeface="+mn-ea"/>
                <a:cs typeface="Helvetica Light"/>
              </a:rPr>
              <a:t>Copyright</a:t>
            </a:r>
            <a:r>
              <a:rPr lang="en-US" altLang="en-US" sz="700" b="0" i="0" kern="1200" baseline="0" noProof="0" dirty="0" smtClean="0">
                <a:solidFill>
                  <a:schemeClr val="tx1"/>
                </a:solidFill>
                <a:latin typeface="+mn-lt"/>
                <a:ea typeface="+mn-ea"/>
                <a:cs typeface="Helvetica Light"/>
              </a:rPr>
              <a:t> </a:t>
            </a:r>
            <a:r>
              <a:rPr lang="en-US" altLang="en-US" sz="700" b="0" i="0" kern="1200" noProof="0" dirty="0" smtClean="0">
                <a:solidFill>
                  <a:schemeClr val="tx1"/>
                </a:solidFill>
                <a:latin typeface="+mn-lt"/>
                <a:ea typeface="+mn-ea"/>
                <a:cs typeface="Helvetica Light"/>
              </a:rPr>
              <a:t>© 2014 Capgemini and Sogeti. All rights reserved.</a:t>
            </a:r>
          </a:p>
        </p:txBody>
      </p:sp>
      <p:sp>
        <p:nvSpPr>
          <p:cNvPr id="13" name="Rectangle 12"/>
          <p:cNvSpPr/>
          <p:nvPr>
            <p:custDataLst>
              <p:tags r:id="rId18"/>
            </p:custDataLst>
          </p:nvPr>
        </p:nvSpPr>
        <p:spPr>
          <a:xfrm>
            <a:off x="7487920" y="6427223"/>
            <a:ext cx="1914554" cy="195814"/>
          </a:xfrm>
          <a:prstGeom prst="rect">
            <a:avLst/>
          </a:prstGeom>
        </p:spPr>
        <p:txBody>
          <a:bodyPr wrap="none" lIns="35997" tIns="35997" rIns="35997" bIns="35997" anchor="b" anchorCtr="0">
            <a:noAutofit/>
          </a:bodyPr>
          <a:lstStyle/>
          <a:p>
            <a:pPr algn="r"/>
            <a:r>
              <a:rPr lang="en-US" sz="700" b="1" dirty="0" smtClean="0">
                <a:solidFill>
                  <a:schemeClr val="tx1"/>
                </a:solidFill>
                <a:latin typeface="+mj-lt"/>
              </a:rPr>
              <a:t>Capgemini and Sogeti Testing Services | July</a:t>
            </a:r>
            <a:r>
              <a:rPr lang="en-US" sz="700" b="1" baseline="0" dirty="0" smtClean="0">
                <a:solidFill>
                  <a:schemeClr val="tx1"/>
                </a:solidFill>
                <a:latin typeface="+mj-lt"/>
              </a:rPr>
              <a:t> 2014</a:t>
            </a:r>
            <a:endParaRPr lang="en-US" sz="700" b="1" dirty="0" smtClean="0">
              <a:solidFill>
                <a:schemeClr val="tx1"/>
              </a:solidFill>
              <a:latin typeface="+mj-lt"/>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2" cstate="email"/>
          <a:srcRect/>
          <a:stretch>
            <a:fillRect/>
          </a:stretch>
        </p:blipFill>
        <p:spPr bwMode="auto">
          <a:xfrm>
            <a:off x="341313" y="6443187"/>
            <a:ext cx="1310615" cy="320682"/>
          </a:xfrm>
          <a:prstGeom prst="rect">
            <a:avLst/>
          </a:prstGeom>
          <a:noFill/>
        </p:spPr>
      </p:pic>
      <p:cxnSp>
        <p:nvCxnSpPr>
          <p:cNvPr id="15" name="Straight Connector 5"/>
          <p:cNvCxnSpPr/>
          <p:nvPr>
            <p:custDataLst>
              <p:tags r:id="rId20"/>
            </p:custDataLst>
          </p:nvPr>
        </p:nvCxnSpPr>
        <p:spPr>
          <a:xfrm flipH="1">
            <a:off x="2" y="6362700"/>
            <a:ext cx="9905999" cy="0"/>
          </a:xfrm>
          <a:prstGeom prst="line">
            <a:avLst/>
          </a:prstGeom>
          <a:ln w="9525" cmpd="sng">
            <a:solidFill>
              <a:schemeClr val="accent3"/>
            </a:solidFill>
          </a:ln>
          <a:effectLst/>
        </p:spPr>
        <p:style>
          <a:lnRef idx="2">
            <a:schemeClr val="accent1"/>
          </a:lnRef>
          <a:fillRef idx="0">
            <a:schemeClr val="accent1"/>
          </a:fillRef>
          <a:effectRef idx="1">
            <a:schemeClr val="accent1"/>
          </a:effectRef>
          <a:fontRef idx="minor">
            <a:schemeClr val="tx1"/>
          </a:fontRef>
        </p:style>
      </p:cxnSp>
      <p:pic>
        <p:nvPicPr>
          <p:cNvPr id="18" name="Picture 17" descr="Sogeti_Logo.png"/>
          <p:cNvPicPr>
            <a:picLocks noChangeAspect="1"/>
          </p:cNvPicPr>
          <p:nvPr/>
        </p:nvPicPr>
        <p:blipFill>
          <a:blip r:embed="rId23" cstate="print"/>
          <a:stretch>
            <a:fillRect/>
          </a:stretch>
        </p:blipFill>
        <p:spPr>
          <a:xfrm>
            <a:off x="3819332" y="6466368"/>
            <a:ext cx="1257493" cy="274320"/>
          </a:xfrm>
          <a:prstGeom prst="rect">
            <a:avLst/>
          </a:prstGeom>
        </p:spPr>
      </p:pic>
      <p:pic>
        <p:nvPicPr>
          <p:cNvPr id="16" name="Picture 4" descr="D:\Users\jkanade\Documents\Royal_Mail.svg.png"/>
          <p:cNvPicPr>
            <a:picLocks noChangeAspect="1" noChangeArrowheads="1"/>
          </p:cNvPicPr>
          <p:nvPr userDrawn="1"/>
        </p:nvPicPr>
        <p:blipFill>
          <a:blip r:embed="rId24" cstate="print"/>
          <a:srcRect/>
          <a:stretch>
            <a:fillRect/>
          </a:stretch>
        </p:blipFill>
        <p:spPr bwMode="auto">
          <a:xfrm>
            <a:off x="8188957" y="85728"/>
            <a:ext cx="1207326" cy="871538"/>
          </a:xfrm>
          <a:prstGeom prst="rect">
            <a:avLst/>
          </a:prstGeom>
          <a:noFill/>
        </p:spPr>
      </p:pic>
    </p:spTree>
  </p:cSld>
  <p:clrMap bg1="lt1" tx1="dk1" bg2="lt2" tx2="dk2" accent1="accent1" accent2="accent2" accent3="accent3" accent4="accent4" accent5="accent5" accent6="accent6" hlink="hlink" folHlink="folHlink"/>
  <p:sldLayoutIdLst>
    <p:sldLayoutId id="2147483969" r:id="rId1"/>
    <p:sldLayoutId id="2147483975" r:id="rId2"/>
    <p:sldLayoutId id="2147483965" r:id="rId3"/>
    <p:sldLayoutId id="2147483966" r:id="rId4"/>
    <p:sldLayoutId id="2147483962" r:id="rId5"/>
    <p:sldLayoutId id="2147483963" r:id="rId6"/>
    <p:sldLayoutId id="2147483964" r:id="rId7"/>
    <p:sldLayoutId id="2147483984" r:id="rId8"/>
    <p:sldLayoutId id="2147483985" r:id="rId9"/>
    <p:sldLayoutId id="2147483986" r:id="rId10"/>
  </p:sldLayoutIdLst>
  <p:timing>
    <p:tnLst>
      <p:par>
        <p:cTn id="1" dur="indefinite" restart="never" nodeType="tmRoot"/>
      </p:par>
    </p:tnLst>
  </p:timing>
  <p:txStyles>
    <p:titleStyle>
      <a:lvl1pPr algn="l" defTabSz="914342" rtl="0" eaLnBrk="1" latinLnBrk="0" hangingPunct="1">
        <a:lnSpc>
          <a:spcPct val="100000"/>
        </a:lnSpc>
        <a:spcBef>
          <a:spcPct val="0"/>
        </a:spcBef>
        <a:buNone/>
        <a:defRPr sz="3200" b="0" kern="1200">
          <a:solidFill>
            <a:schemeClr val="accent1"/>
          </a:solidFill>
          <a:effectLst/>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1"/>
        </a:buClr>
        <a:buFont typeface="Wingdings" pitchFamily="2" charset="2"/>
        <a:buChar char="§"/>
        <a:defRPr sz="2000" b="0" kern="1200">
          <a:solidFill>
            <a:schemeClr val="tx1"/>
          </a:solidFill>
          <a:latin typeface="+mn-lt"/>
          <a:ea typeface="+mn-ea"/>
          <a:cs typeface="+mn-cs"/>
        </a:defRPr>
      </a:lvl1pPr>
      <a:lvl2pPr marL="457200" indent="-171450" algn="l" defTabSz="914342" rtl="0" eaLnBrk="1" latinLnBrk="0" hangingPunct="1">
        <a:lnSpc>
          <a:spcPct val="100000"/>
        </a:lnSpc>
        <a:spcBef>
          <a:spcPts val="0"/>
        </a:spcBef>
        <a:spcAft>
          <a:spcPts val="600"/>
        </a:spcAft>
        <a:buClr>
          <a:schemeClr val="accent1"/>
        </a:buClr>
        <a:buFont typeface="Arial" pitchFamily="34" charset="0"/>
        <a:buChar char="•"/>
        <a:defRPr sz="1800" kern="1200">
          <a:solidFill>
            <a:schemeClr val="tx1"/>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1"/>
        </a:buClr>
        <a:buFont typeface="Arial" pitchFamily="34" charset="0"/>
        <a:buChar char="–"/>
        <a:defRPr sz="1600" kern="1200">
          <a:solidFill>
            <a:schemeClr val="tx1"/>
          </a:solidFill>
          <a:latin typeface="+mn-lt"/>
          <a:ea typeface="+mn-ea"/>
          <a:cs typeface="+mn-cs"/>
        </a:defRPr>
      </a:lvl3pPr>
      <a:lvl4pPr marL="914400" marR="0" indent="-223838" algn="l" defTabSz="914342" rtl="0" eaLnBrk="1" fontAlgn="auto" latinLnBrk="0" hangingPunct="1">
        <a:lnSpc>
          <a:spcPct val="100000"/>
        </a:lnSpc>
        <a:spcBef>
          <a:spcPts val="0"/>
        </a:spcBef>
        <a:spcAft>
          <a:spcPts val="600"/>
        </a:spcAft>
        <a:buClr>
          <a:schemeClr val="accent1"/>
        </a:buClr>
        <a:buSzTx/>
        <a:buFont typeface="Arial" pitchFamily="34" charset="0"/>
        <a:buChar char="◦"/>
        <a:tabLst/>
        <a:defRPr sz="1400" kern="1200">
          <a:solidFill>
            <a:schemeClr val="tx1"/>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Rectangle 7"/>
          <p:cNvSpPr/>
          <p:nvPr>
            <p:custDataLst>
              <p:tags r:id="rId4"/>
            </p:custDataLst>
          </p:nvPr>
        </p:nvSpPr>
        <p:spPr bwMode="auto">
          <a:xfrm flipV="1">
            <a:off x="0" y="1685925"/>
            <a:ext cx="9906000" cy="51720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132036 w 10564614"/>
              <a:gd name="connsiteY6" fmla="*/ 20806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363945 w 10564614"/>
              <a:gd name="connsiteY5" fmla="*/ 427792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646636 w 10564614"/>
              <a:gd name="connsiteY6" fmla="*/ 395326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349559 w 10564614"/>
              <a:gd name="connsiteY0" fmla="*/ 166453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0 w 10564614"/>
              <a:gd name="connsiteY5" fmla="*/ 4795927 h 5657661"/>
              <a:gd name="connsiteX6" fmla="*/ 0 w 10564614"/>
              <a:gd name="connsiteY6" fmla="*/ 0 h 5657661"/>
              <a:gd name="connsiteX0" fmla="*/ 10562847 w 10563360"/>
              <a:gd name="connsiteY0" fmla="*/ 0 h 5657661"/>
              <a:gd name="connsiteX1" fmla="*/ 10563360 w 10563360"/>
              <a:gd name="connsiteY1" fmla="*/ 5657661 h 5657661"/>
              <a:gd name="connsiteX2" fmla="*/ 9024770 w 10563360"/>
              <a:gd name="connsiteY2" fmla="*/ 4808920 h 5657661"/>
              <a:gd name="connsiteX3" fmla="*/ 2295231 w 10563360"/>
              <a:gd name="connsiteY3" fmla="*/ 4794064 h 5657661"/>
              <a:gd name="connsiteX4" fmla="*/ 1200559 w 10563360"/>
              <a:gd name="connsiteY4" fmla="*/ 4072264 h 5657661"/>
              <a:gd name="connsiteX5" fmla="*/ 0 w 10563360"/>
              <a:gd name="connsiteY5" fmla="*/ 4795927 h 5657661"/>
              <a:gd name="connsiteX6" fmla="*/ 0 w 10563360"/>
              <a:gd name="connsiteY6" fmla="*/ 0 h 5657661"/>
              <a:gd name="connsiteX0" fmla="*/ 10562847 w 10562847"/>
              <a:gd name="connsiteY0" fmla="*/ 0 h 5064672"/>
              <a:gd name="connsiteX1" fmla="*/ 10198903 w 10562847"/>
              <a:gd name="connsiteY1" fmla="*/ 5064672 h 5064672"/>
              <a:gd name="connsiteX2" fmla="*/ 9024770 w 10562847"/>
              <a:gd name="connsiteY2" fmla="*/ 4808920 h 5064672"/>
              <a:gd name="connsiteX3" fmla="*/ 2295231 w 10562847"/>
              <a:gd name="connsiteY3" fmla="*/ 4794064 h 5064672"/>
              <a:gd name="connsiteX4" fmla="*/ 1200559 w 10562847"/>
              <a:gd name="connsiteY4" fmla="*/ 4072264 h 5064672"/>
              <a:gd name="connsiteX5" fmla="*/ 0 w 10562847"/>
              <a:gd name="connsiteY5" fmla="*/ 4795927 h 5064672"/>
              <a:gd name="connsiteX6" fmla="*/ 0 w 10562847"/>
              <a:gd name="connsiteY6" fmla="*/ 0 h 5064672"/>
              <a:gd name="connsiteX0" fmla="*/ 10562847 w 10562847"/>
              <a:gd name="connsiteY0" fmla="*/ 0 h 5648998"/>
              <a:gd name="connsiteX1" fmla="*/ 10562847 w 10562847"/>
              <a:gd name="connsiteY1" fmla="*/ 5648998 h 5648998"/>
              <a:gd name="connsiteX2" fmla="*/ 9024770 w 10562847"/>
              <a:gd name="connsiteY2" fmla="*/ 4808920 h 5648998"/>
              <a:gd name="connsiteX3" fmla="*/ 2295231 w 10562847"/>
              <a:gd name="connsiteY3" fmla="*/ 4794064 h 5648998"/>
              <a:gd name="connsiteX4" fmla="*/ 1200559 w 10562847"/>
              <a:gd name="connsiteY4" fmla="*/ 4072264 h 5648998"/>
              <a:gd name="connsiteX5" fmla="*/ 0 w 10562847"/>
              <a:gd name="connsiteY5" fmla="*/ 4795927 h 5648998"/>
              <a:gd name="connsiteX6" fmla="*/ 0 w 10562847"/>
              <a:gd name="connsiteY6" fmla="*/ 0 h 564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2847" h="5648998">
                <a:moveTo>
                  <a:pt x="10562847" y="0"/>
                </a:moveTo>
                <a:lnTo>
                  <a:pt x="10562847" y="5648998"/>
                </a:lnTo>
                <a:cubicBezTo>
                  <a:pt x="10190428" y="4911661"/>
                  <a:pt x="9462356" y="4792975"/>
                  <a:pt x="9024770" y="4808920"/>
                </a:cubicBezTo>
                <a:lnTo>
                  <a:pt x="2295231" y="4794064"/>
                </a:lnTo>
                <a:cubicBezTo>
                  <a:pt x="1854598" y="4794612"/>
                  <a:pt x="1423669" y="4544310"/>
                  <a:pt x="1200559" y="4072264"/>
                </a:cubicBezTo>
                <a:cubicBezTo>
                  <a:pt x="965203" y="4750718"/>
                  <a:pt x="278640" y="4795049"/>
                  <a:pt x="0" y="4795927"/>
                </a:cubicBezTo>
                <a:lnTo>
                  <a:pt x="0" y="0"/>
                </a:lnTo>
              </a:path>
            </a:pathLst>
          </a:custGeom>
          <a:solidFill>
            <a:schemeClr val="accent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261123" name="think-cell Slide" r:id="rId9" imgW="360" imgH="360" progId="">
              <p:embed/>
            </p:oleObj>
          </a:graphicData>
        </a:graphic>
      </p:graphicFrame>
      <p:sp>
        <p:nvSpPr>
          <p:cNvPr id="21" name="Rectangle 20"/>
          <p:cNvSpPr/>
          <p:nvPr>
            <p:custDataLst>
              <p:tags r:id="rId5"/>
            </p:custDataLst>
          </p:nvPr>
        </p:nvSpPr>
        <p:spPr>
          <a:xfrm>
            <a:off x="6250489" y="5815159"/>
            <a:ext cx="3152274" cy="257369"/>
          </a:xfrm>
          <a:prstGeom prst="rect">
            <a:avLst/>
          </a:prstGeom>
        </p:spPr>
        <p:txBody>
          <a:bodyPr wrap="square" lIns="36000" tIns="36000" rIns="0" bIns="36000" anchor="b" anchorCtr="0">
            <a:spAutoFit/>
          </a:bodyPr>
          <a:lstStyle/>
          <a:p>
            <a:pPr algn="r"/>
            <a:r>
              <a:rPr lang="en-US" sz="1200" b="1" dirty="0" smtClean="0">
                <a:solidFill>
                  <a:schemeClr val="bg1"/>
                </a:solidFill>
                <a:latin typeface="Arial" pitchFamily="34" charset="0"/>
                <a:cs typeface="Arial" pitchFamily="34" charset="0"/>
              </a:rPr>
              <a:t>www.sogeti.com/testing</a:t>
            </a:r>
            <a:endParaRPr lang="en-US" sz="1200" b="1" dirty="0">
              <a:solidFill>
                <a:schemeClr val="bg1"/>
              </a:solidFill>
              <a:latin typeface="Arial" pitchFamily="34" charset="0"/>
              <a:cs typeface="Arial" pitchFamily="34" charset="0"/>
            </a:endParaRPr>
          </a:p>
        </p:txBody>
      </p:sp>
      <p:sp>
        <p:nvSpPr>
          <p:cNvPr id="28" name="Rectangle 27"/>
          <p:cNvSpPr/>
          <p:nvPr>
            <p:custDataLst>
              <p:tags r:id="rId6"/>
            </p:custDataLst>
          </p:nvPr>
        </p:nvSpPr>
        <p:spPr>
          <a:xfrm>
            <a:off x="6250489" y="5591906"/>
            <a:ext cx="3152274" cy="257369"/>
          </a:xfrm>
          <a:prstGeom prst="rect">
            <a:avLst/>
          </a:prstGeom>
        </p:spPr>
        <p:txBody>
          <a:bodyPr wrap="square" lIns="36000" tIns="36000" rIns="0" bIns="36000" anchor="b" anchorCtr="0">
            <a:spAutoFit/>
          </a:bodyPr>
          <a:lstStyle/>
          <a:p>
            <a:pPr algn="r"/>
            <a:r>
              <a:rPr lang="en-US" sz="1200" b="1" dirty="0" smtClean="0">
                <a:solidFill>
                  <a:schemeClr val="bg1"/>
                </a:solidFill>
                <a:latin typeface="Arial" pitchFamily="34" charset="0"/>
                <a:cs typeface="Arial" pitchFamily="34" charset="0"/>
              </a:rPr>
              <a:t>www.capgemini.com/testing</a:t>
            </a:r>
            <a:endParaRPr lang="en-US" sz="1200" b="1" dirty="0">
              <a:solidFill>
                <a:schemeClr val="bg1"/>
              </a:solidFill>
              <a:latin typeface="Arial" pitchFamily="34" charset="0"/>
              <a:cs typeface="Arial" pitchFamily="34" charset="0"/>
            </a:endParaRPr>
          </a:p>
        </p:txBody>
      </p:sp>
      <p:sp>
        <p:nvSpPr>
          <p:cNvPr id="29" name="Rectangle 28"/>
          <p:cNvSpPr/>
          <p:nvPr>
            <p:custDataLst>
              <p:tags r:id="rId7"/>
            </p:custDataLst>
          </p:nvPr>
        </p:nvSpPr>
        <p:spPr>
          <a:xfrm>
            <a:off x="2859088" y="6164224"/>
            <a:ext cx="6543675" cy="497651"/>
          </a:xfrm>
          <a:prstGeom prst="rect">
            <a:avLst/>
          </a:prstGeom>
        </p:spPr>
        <p:txBody>
          <a:bodyPr wrap="square" lIns="33059" tIns="33059" rIns="0" bIns="33059" anchor="b" anchorCtr="0">
            <a:spAutoFit/>
          </a:bodyPr>
          <a:lstStyle/>
          <a:p>
            <a:pPr algn="r"/>
            <a:r>
              <a:rPr lang="en-US" sz="700" dirty="0" smtClean="0">
                <a:solidFill>
                  <a:schemeClr val="bg1"/>
                </a:solidFill>
                <a:latin typeface="Arial"/>
                <a:cs typeface="Arial"/>
              </a:rPr>
              <a:t>The information contained in this presentation is proprietary.</a:t>
            </a:r>
            <a:br>
              <a:rPr lang="en-US" sz="700" dirty="0" smtClean="0">
                <a:solidFill>
                  <a:schemeClr val="bg1"/>
                </a:solidFill>
                <a:latin typeface="Arial"/>
                <a:cs typeface="Arial"/>
              </a:rPr>
            </a:br>
            <a:r>
              <a:rPr lang="en-US" sz="700" dirty="0" smtClean="0">
                <a:solidFill>
                  <a:schemeClr val="bg1"/>
                </a:solidFill>
                <a:latin typeface="Arial"/>
                <a:cs typeface="Arial"/>
              </a:rPr>
              <a:t>Copyright © 2014 Capgemini and Sogeti. All rights reserved.</a:t>
            </a:r>
            <a:br>
              <a:rPr lang="en-US" sz="700" dirty="0" smtClean="0">
                <a:solidFill>
                  <a:schemeClr val="bg1"/>
                </a:solidFill>
                <a:latin typeface="Arial"/>
                <a:cs typeface="Arial"/>
              </a:rPr>
            </a:br>
            <a:r>
              <a:rPr lang="en-US" sz="700" dirty="0" smtClean="0">
                <a:solidFill>
                  <a:schemeClr val="bg1"/>
                </a:solidFill>
                <a:latin typeface="Arial"/>
                <a:cs typeface="Arial"/>
              </a:rPr>
              <a:t>Rightshore</a:t>
            </a:r>
            <a:r>
              <a:rPr lang="en-US" sz="700" baseline="30000" dirty="0" smtClean="0">
                <a:solidFill>
                  <a:schemeClr val="bg1"/>
                </a:solidFill>
                <a:latin typeface="Arial"/>
                <a:cs typeface="Arial"/>
              </a:rPr>
              <a:t>®</a:t>
            </a:r>
            <a:r>
              <a:rPr lang="en-US" sz="700" dirty="0" smtClean="0">
                <a:solidFill>
                  <a:schemeClr val="bg1"/>
                </a:solidFill>
                <a:latin typeface="Arial"/>
                <a:cs typeface="Arial"/>
              </a:rPr>
              <a:t> is a trademark belonging to Capgemini.</a:t>
            </a:r>
          </a:p>
          <a:p>
            <a:pPr algn="r"/>
            <a:r>
              <a:rPr lang="en-US" sz="700" dirty="0" smtClean="0">
                <a:solidFill>
                  <a:schemeClr val="bg1"/>
                </a:solidFill>
                <a:latin typeface="Arial"/>
                <a:cs typeface="Arial"/>
              </a:rPr>
              <a:t>No part of this document may be modified, deleted or expanded by any process or means without prior written permission from Capgemini.</a:t>
            </a:r>
          </a:p>
        </p:txBody>
      </p:sp>
      <p:pic>
        <p:nvPicPr>
          <p:cNvPr id="9" name="Picture 15" descr="Sogeti_Logo.png"/>
          <p:cNvPicPr>
            <a:picLocks noChangeAspect="1"/>
          </p:cNvPicPr>
          <p:nvPr/>
        </p:nvPicPr>
        <p:blipFill>
          <a:blip r:embed="rId10" cstate="print"/>
          <a:srcRect/>
          <a:stretch>
            <a:fillRect/>
          </a:stretch>
        </p:blipFill>
        <p:spPr bwMode="auto">
          <a:xfrm>
            <a:off x="6980238" y="979771"/>
            <a:ext cx="2305050" cy="502920"/>
          </a:xfrm>
          <a:prstGeom prst="rect">
            <a:avLst/>
          </a:prstGeom>
          <a:noFill/>
          <a:ln w="9525">
            <a:noFill/>
            <a:miter lim="800000"/>
            <a:headEnd/>
            <a:tailEnd/>
          </a:ln>
        </p:spPr>
      </p:pic>
      <p:pic>
        <p:nvPicPr>
          <p:cNvPr id="10" name="Picture 103" descr="C:\Users\UserSim\Desktop\Capgemini\Capgemini_logo_cmyk.png"/>
          <p:cNvPicPr>
            <a:picLocks noChangeAspect="1" noChangeArrowheads="1"/>
          </p:cNvPicPr>
          <p:nvPr>
            <p:custDataLst>
              <p:tags r:id="rId8"/>
            </p:custDataLst>
          </p:nvPr>
        </p:nvPicPr>
        <p:blipFill>
          <a:blip r:embed="rId11" cstate="email"/>
          <a:srcRect/>
          <a:stretch>
            <a:fillRect/>
          </a:stretch>
        </p:blipFill>
        <p:spPr bwMode="auto">
          <a:xfrm>
            <a:off x="614363" y="946248"/>
            <a:ext cx="2422358" cy="569967"/>
          </a:xfrm>
          <a:prstGeom prst="rect">
            <a:avLst/>
          </a:prstGeom>
          <a:noFill/>
        </p:spPr>
      </p:pic>
    </p:spTree>
  </p:cSld>
  <p:clrMap bg1="lt1" tx1="dk1" bg2="lt2" tx2="dk2" accent1="accent1" accent2="accent2" accent3="accent3" accent4="accent4" accent5="accent5" accent6="accent6" hlink="hlink" folHlink="folHlink"/>
  <p:sldLayoutIdLst>
    <p:sldLayoutId id="2147483977"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026" name="think-cell Slide" r:id="rId4"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83" r:id="rId1"/>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2.xml"/><Relationship Id="rId1" Type="http://schemas.openxmlformats.org/officeDocument/2006/relationships/vmlDrawing" Target="../drawings/vmlDrawing14.vml"/><Relationship Id="rId5" Type="http://schemas.openxmlformats.org/officeDocument/2006/relationships/oleObject" Target="../embeddings/oleObject1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8" Type="http://schemas.microsoft.com/office/2007/relationships/diagramDrawing" Target="../diagrams/drawing1.xml"/><Relationship Id="rId13" Type="http://schemas.openxmlformats.org/officeDocument/2006/relationships/image" Target="../media/image33.png"/><Relationship Id="rId3" Type="http://schemas.openxmlformats.org/officeDocument/2006/relationships/image" Target="../media/image28.wmf"/><Relationship Id="rId7" Type="http://schemas.openxmlformats.org/officeDocument/2006/relationships/diagramColors" Target="../diagrams/colors1.xml"/><Relationship Id="rId12" Type="http://schemas.openxmlformats.org/officeDocument/2006/relationships/image" Target="../media/image32.png"/><Relationship Id="rId2" Type="http://schemas.openxmlformats.org/officeDocument/2006/relationships/image" Target="../media/image27.wmf"/><Relationship Id="rId1" Type="http://schemas.openxmlformats.org/officeDocument/2006/relationships/slideLayout" Target="../slideLayouts/slideLayout9.xml"/><Relationship Id="rId6" Type="http://schemas.openxmlformats.org/officeDocument/2006/relationships/diagramQuickStyle" Target="../diagrams/quickStyle1.xml"/><Relationship Id="rId11" Type="http://schemas.openxmlformats.org/officeDocument/2006/relationships/image" Target="../media/image31.wmf"/><Relationship Id="rId5" Type="http://schemas.openxmlformats.org/officeDocument/2006/relationships/diagramLayout" Target="../diagrams/layout1.xml"/><Relationship Id="rId10" Type="http://schemas.openxmlformats.org/officeDocument/2006/relationships/image" Target="../media/image30.png"/><Relationship Id="rId4" Type="http://schemas.openxmlformats.org/officeDocument/2006/relationships/diagramData" Target="../diagrams/data1.xml"/><Relationship Id="rId9" Type="http://schemas.openxmlformats.org/officeDocument/2006/relationships/image" Target="../media/image29.png"/><Relationship Id="rId14" Type="http://schemas.openxmlformats.org/officeDocument/2006/relationships/image" Target="../media/image34.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3.xml"/><Relationship Id="rId1" Type="http://schemas.openxmlformats.org/officeDocument/2006/relationships/vmlDrawing" Target="../drawings/vmlDrawing15.vml"/><Relationship Id="rId5" Type="http://schemas.openxmlformats.org/officeDocument/2006/relationships/oleObject" Target="../embeddings/oleObject15.bin"/><Relationship Id="rId4" Type="http://schemas.openxmlformats.org/officeDocument/2006/relationships/notesSlide" Target="../notesSlides/notesSlide6.xml"/></Relationships>
</file>

<file path=ppt/slides/_rels/slide3.xml.rels><?xml version="1.0" encoding="UTF-8" standalone="yes"?>
<Relationships xmlns="http://schemas.openxmlformats.org/package/2006/relationships"><Relationship Id="rId8" Type="http://schemas.openxmlformats.org/officeDocument/2006/relationships/image" Target="../media/image14.wmf"/><Relationship Id="rId3" Type="http://schemas.openxmlformats.org/officeDocument/2006/relationships/image" Target="../media/image9.png"/><Relationship Id="rId7"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12.wmf"/><Relationship Id="rId5" Type="http://schemas.openxmlformats.org/officeDocument/2006/relationships/image" Target="../media/image11.wmf"/><Relationship Id="rId10" Type="http://schemas.openxmlformats.org/officeDocument/2006/relationships/image" Target="../media/image16.png"/><Relationship Id="rId4" Type="http://schemas.openxmlformats.org/officeDocument/2006/relationships/image" Target="../media/image10.jpeg"/><Relationship Id="rId9" Type="http://schemas.openxmlformats.org/officeDocument/2006/relationships/image" Target="../media/image15.w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779" name="think-cell Slide" r:id="rId5" imgW="360" imgH="360" progId="">
              <p:embed/>
            </p:oleObj>
          </a:graphicData>
        </a:graphic>
      </p:graphicFrame>
      <p:sp>
        <p:nvSpPr>
          <p:cNvPr id="13" name="Subtitle 12"/>
          <p:cNvSpPr>
            <a:spLocks noGrp="1"/>
          </p:cNvSpPr>
          <p:nvPr>
            <p:ph type="subTitle" idx="1"/>
            <p:custDataLst>
              <p:tags r:id="rId2"/>
            </p:custDataLst>
          </p:nvPr>
        </p:nvSpPr>
        <p:spPr>
          <a:xfrm>
            <a:off x="374754" y="5040576"/>
            <a:ext cx="3034390" cy="947750"/>
          </a:xfrm>
        </p:spPr>
        <p:txBody>
          <a:bodyPr/>
          <a:lstStyle/>
          <a:p>
            <a:pPr>
              <a:defRPr/>
            </a:pPr>
            <a:r>
              <a:rPr lang="en-US" sz="2800" dirty="0" smtClean="0"/>
              <a:t>Royal Mail Group</a:t>
            </a:r>
            <a:endParaRPr lang="en-US" sz="2800"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3480OS_01_03.png"/>
          <p:cNvPicPr>
            <a:picLocks noGrp="1" noChangeAspect="1"/>
          </p:cNvPicPr>
          <p:nvPr>
            <p:ph idx="1"/>
          </p:nvPr>
        </p:nvPicPr>
        <p:blipFill>
          <a:blip r:embed="rId2" cstate="print"/>
          <a:stretch>
            <a:fillRect/>
          </a:stretch>
        </p:blipFill>
        <p:spPr>
          <a:xfrm>
            <a:off x="796100" y="1219200"/>
            <a:ext cx="6328932" cy="4991100"/>
          </a:xfrm>
        </p:spPr>
      </p:pic>
      <p:sp>
        <p:nvSpPr>
          <p:cNvPr id="2" name="Title 1"/>
          <p:cNvSpPr>
            <a:spLocks noGrp="1"/>
          </p:cNvSpPr>
          <p:nvPr>
            <p:ph type="title"/>
          </p:nvPr>
        </p:nvSpPr>
        <p:spPr>
          <a:xfrm>
            <a:off x="341313" y="245000"/>
            <a:ext cx="7850187" cy="512133"/>
          </a:xfrm>
          <a:noFill/>
          <a:ln w="9525">
            <a:noFill/>
            <a:miter lim="800000"/>
            <a:headEnd/>
            <a:tailEnd/>
          </a:ln>
          <a:effectLst/>
        </p:spPr>
        <p:txBody>
          <a:bodyPr vert="horz" wrap="square" lIns="80460" tIns="40230" rIns="80460" bIns="40230" rtlCol="0" anchor="ctr">
            <a:spAutoFit/>
          </a:bodyPr>
          <a:lstStyle/>
          <a:p>
            <a:pPr defTabSz="957756"/>
            <a:r>
              <a:rPr lang="en-US" sz="2800" dirty="0" smtClean="0">
                <a:solidFill>
                  <a:schemeClr val="tx1"/>
                </a:solidFill>
                <a:latin typeface="Arial Black" pitchFamily="34" charset="0"/>
                <a:ea typeface="+mn-ea"/>
                <a:cs typeface="+mn-cs"/>
              </a:rPr>
              <a:t>How behat executes </a:t>
            </a:r>
            <a:r>
              <a:rPr lang="en-US" sz="2800" dirty="0" smtClean="0">
                <a:solidFill>
                  <a:srgbClr val="F0EB07"/>
                </a:solidFill>
                <a:latin typeface="Arial Black" pitchFamily="34" charset="0"/>
                <a:ea typeface="+mn-ea"/>
                <a:cs typeface="+mn-cs"/>
              </a:rPr>
              <a:t>scenario</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1314" y="248757"/>
            <a:ext cx="7192962" cy="512133"/>
          </a:xfrm>
          <a:noFill/>
          <a:ln w="9525">
            <a:noFill/>
            <a:miter lim="800000"/>
            <a:headEnd/>
            <a:tailEnd/>
          </a:ln>
          <a:effectLst/>
        </p:spPr>
        <p:txBody>
          <a:bodyPr vert="horz" wrap="square" lIns="80460" tIns="40230" rIns="80460" bIns="40230" rtlCol="0" anchor="ctr">
            <a:spAutoFit/>
          </a:bodyPr>
          <a:lstStyle/>
          <a:p>
            <a:pPr defTabSz="957756"/>
            <a:r>
              <a:rPr lang="en-US" sz="2800" dirty="0" smtClean="0">
                <a:solidFill>
                  <a:srgbClr val="F0EB07"/>
                </a:solidFill>
                <a:latin typeface="Arial Black" pitchFamily="34" charset="0"/>
                <a:ea typeface="+mn-ea"/>
                <a:cs typeface="+mn-cs"/>
              </a:rPr>
              <a:t>Behat</a:t>
            </a:r>
            <a:r>
              <a:rPr lang="en-US" sz="2800" dirty="0" smtClean="0">
                <a:solidFill>
                  <a:schemeClr val="tx1"/>
                </a:solidFill>
                <a:latin typeface="Arial Black" pitchFamily="34" charset="0"/>
                <a:ea typeface="+mn-ea"/>
                <a:cs typeface="+mn-cs"/>
              </a:rPr>
              <a:t> </a:t>
            </a:r>
            <a:r>
              <a:rPr lang="en-US" sz="2800" dirty="0" smtClean="0">
                <a:solidFill>
                  <a:schemeClr val="tx1"/>
                </a:solidFill>
                <a:latin typeface="Arial Black" pitchFamily="34" charset="0"/>
                <a:ea typeface="+mn-ea"/>
                <a:cs typeface="+mn-cs"/>
              </a:rPr>
              <a:t>testing stack</a:t>
            </a:r>
            <a:endParaRPr lang="en-US" sz="2800" dirty="0">
              <a:solidFill>
                <a:schemeClr val="tx1"/>
              </a:solidFill>
              <a:latin typeface="Arial Black" pitchFamily="34" charset="0"/>
              <a:ea typeface="+mn-ea"/>
              <a:cs typeface="+mn-cs"/>
            </a:endParaRPr>
          </a:p>
        </p:txBody>
      </p:sp>
      <p:pic>
        <p:nvPicPr>
          <p:cNvPr id="1026" name="Picture 2"/>
          <p:cNvPicPr>
            <a:picLocks noGrp="1" noChangeAspect="1" noChangeArrowheads="1"/>
          </p:cNvPicPr>
          <p:nvPr>
            <p:ph idx="1"/>
          </p:nvPr>
        </p:nvPicPr>
        <p:blipFill>
          <a:blip r:embed="rId2" cstate="print"/>
          <a:srcRect/>
          <a:stretch>
            <a:fillRect/>
          </a:stretch>
        </p:blipFill>
        <p:spPr bwMode="auto">
          <a:xfrm>
            <a:off x="664950" y="1226451"/>
            <a:ext cx="6521449" cy="48006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321201"/>
            <a:ext cx="7762875" cy="512133"/>
          </a:xfrm>
          <a:noFill/>
          <a:ln w="9525">
            <a:noFill/>
            <a:miter lim="800000"/>
            <a:headEnd/>
            <a:tailEnd/>
          </a:ln>
          <a:effectLst/>
        </p:spPr>
        <p:txBody>
          <a:bodyPr vert="horz" wrap="square" lIns="80460" tIns="40230" rIns="80460" bIns="40230" rtlCol="0" anchor="ctr">
            <a:spAutoFit/>
          </a:bodyPr>
          <a:lstStyle/>
          <a:p>
            <a:pPr defTabSz="957756"/>
            <a:r>
              <a:rPr lang="en-US" sz="2800" dirty="0" smtClean="0">
                <a:solidFill>
                  <a:srgbClr val="F0EB07"/>
                </a:solidFill>
                <a:latin typeface="Arial Black" pitchFamily="34" charset="0"/>
                <a:ea typeface="+mn-ea"/>
                <a:cs typeface="+mn-cs"/>
              </a:rPr>
              <a:t>Mink</a:t>
            </a:r>
            <a:endParaRPr lang="en-US" sz="2800" dirty="0">
              <a:solidFill>
                <a:srgbClr val="F0EB07"/>
              </a:solidFill>
              <a:latin typeface="Arial Black" pitchFamily="34" charset="0"/>
              <a:ea typeface="+mn-ea"/>
              <a:cs typeface="+mn-cs"/>
            </a:endParaRPr>
          </a:p>
        </p:txBody>
      </p:sp>
      <p:pic>
        <p:nvPicPr>
          <p:cNvPr id="4098" name="Picture 2"/>
          <p:cNvPicPr>
            <a:picLocks noGrp="1" noChangeAspect="1" noChangeArrowheads="1"/>
          </p:cNvPicPr>
          <p:nvPr>
            <p:ph idx="1"/>
          </p:nvPr>
        </p:nvPicPr>
        <p:blipFill>
          <a:blip r:embed="rId3" cstate="print"/>
          <a:srcRect/>
          <a:stretch>
            <a:fillRect/>
          </a:stretch>
        </p:blipFill>
        <p:spPr bwMode="auto">
          <a:xfrm>
            <a:off x="451769" y="1438275"/>
            <a:ext cx="9139905" cy="451328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1313" y="340250"/>
            <a:ext cx="7354887" cy="512133"/>
          </a:xfrm>
          <a:noFill/>
          <a:ln w="9525">
            <a:noFill/>
            <a:miter lim="800000"/>
            <a:headEnd/>
            <a:tailEnd/>
          </a:ln>
          <a:effectLst/>
        </p:spPr>
        <p:txBody>
          <a:bodyPr vert="horz" wrap="square" lIns="80460" tIns="40230" rIns="80460" bIns="40230" rtlCol="0" anchor="ctr">
            <a:spAutoFit/>
          </a:bodyPr>
          <a:lstStyle/>
          <a:p>
            <a:pPr defTabSz="957756"/>
            <a:r>
              <a:rPr lang="en-US" sz="2800" dirty="0" smtClean="0">
                <a:solidFill>
                  <a:srgbClr val="F0EB07"/>
                </a:solidFill>
                <a:latin typeface="Arial Black" pitchFamily="34" charset="0"/>
                <a:ea typeface="+mn-ea"/>
                <a:cs typeface="+mn-cs"/>
              </a:rPr>
              <a:t> </a:t>
            </a:r>
            <a:r>
              <a:rPr lang="en-US" sz="2800" dirty="0" smtClean="0">
                <a:solidFill>
                  <a:schemeClr val="tx1"/>
                </a:solidFill>
                <a:latin typeface="Arial Black" pitchFamily="34" charset="0"/>
                <a:ea typeface="+mn-ea"/>
                <a:cs typeface="+mn-cs"/>
              </a:rPr>
              <a:t>Behat</a:t>
            </a:r>
            <a:r>
              <a:rPr lang="en-US" sz="2800" dirty="0" smtClean="0">
                <a:solidFill>
                  <a:srgbClr val="F0EB07"/>
                </a:solidFill>
                <a:latin typeface="Arial Black" pitchFamily="34" charset="0"/>
                <a:ea typeface="+mn-ea"/>
                <a:cs typeface="+mn-cs"/>
              </a:rPr>
              <a:t> interaction </a:t>
            </a:r>
            <a:r>
              <a:rPr lang="en-US" sz="2800" dirty="0" smtClean="0">
                <a:solidFill>
                  <a:schemeClr val="tx1"/>
                </a:solidFill>
                <a:latin typeface="Arial Black" pitchFamily="34" charset="0"/>
                <a:ea typeface="+mn-ea"/>
                <a:cs typeface="+mn-cs"/>
              </a:rPr>
              <a:t>with </a:t>
            </a:r>
            <a:r>
              <a:rPr lang="en-US" sz="2800" dirty="0" smtClean="0">
                <a:solidFill>
                  <a:schemeClr val="tx1"/>
                </a:solidFill>
                <a:latin typeface="Arial Black" pitchFamily="34" charset="0"/>
                <a:ea typeface="+mn-ea"/>
                <a:cs typeface="+mn-cs"/>
              </a:rPr>
              <a:t>Firefox</a:t>
            </a:r>
            <a:endParaRPr lang="en-US" sz="2800" dirty="0">
              <a:solidFill>
                <a:schemeClr val="tx1"/>
              </a:solidFill>
              <a:latin typeface="Arial Black" pitchFamily="34" charset="0"/>
              <a:ea typeface="+mn-ea"/>
              <a:cs typeface="+mn-cs"/>
            </a:endParaRPr>
          </a:p>
        </p:txBody>
      </p:sp>
      <p:pic>
        <p:nvPicPr>
          <p:cNvPr id="3075" name="Picture 3"/>
          <p:cNvPicPr>
            <a:picLocks noGrp="1" noChangeAspect="1" noChangeArrowheads="1"/>
          </p:cNvPicPr>
          <p:nvPr>
            <p:ph idx="1"/>
          </p:nvPr>
        </p:nvPicPr>
        <p:blipFill>
          <a:blip r:embed="rId2" cstate="print"/>
          <a:srcRect/>
          <a:stretch>
            <a:fillRect/>
          </a:stretch>
        </p:blipFill>
        <p:spPr bwMode="auto">
          <a:xfrm>
            <a:off x="407771" y="1428750"/>
            <a:ext cx="9166082" cy="46101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1314" y="245000"/>
            <a:ext cx="7745412" cy="512133"/>
          </a:xfrm>
          <a:noFill/>
          <a:ln w="9525">
            <a:noFill/>
            <a:miter lim="800000"/>
            <a:headEnd/>
            <a:tailEnd/>
          </a:ln>
          <a:effectLst/>
        </p:spPr>
        <p:txBody>
          <a:bodyPr vert="horz" wrap="square" lIns="80460" tIns="40230" rIns="80460" bIns="40230" rtlCol="0" anchor="ctr">
            <a:spAutoFit/>
          </a:bodyPr>
          <a:lstStyle/>
          <a:p>
            <a:pPr defTabSz="957756"/>
            <a:r>
              <a:rPr lang="en-US" sz="2800" dirty="0" smtClean="0">
                <a:solidFill>
                  <a:schemeClr val="tx1"/>
                </a:solidFill>
                <a:latin typeface="Arial Black" pitchFamily="34" charset="0"/>
                <a:ea typeface="+mn-ea"/>
                <a:cs typeface="+mn-cs"/>
              </a:rPr>
              <a:t>Need </a:t>
            </a:r>
            <a:r>
              <a:rPr lang="en-US" sz="2800" dirty="0" smtClean="0">
                <a:solidFill>
                  <a:schemeClr val="tx1"/>
                </a:solidFill>
                <a:latin typeface="Arial Black" pitchFamily="34" charset="0"/>
                <a:ea typeface="+mn-ea"/>
                <a:cs typeface="+mn-cs"/>
              </a:rPr>
              <a:t>of </a:t>
            </a:r>
            <a:r>
              <a:rPr lang="en-US" sz="2800" dirty="0" err="1" smtClean="0">
                <a:solidFill>
                  <a:srgbClr val="F0EB07"/>
                </a:solidFill>
                <a:latin typeface="Arial Black" pitchFamily="34" charset="0"/>
                <a:ea typeface="+mn-ea"/>
                <a:cs typeface="+mn-cs"/>
              </a:rPr>
              <a:t>MinkExtension</a:t>
            </a:r>
            <a:endParaRPr lang="en-US" sz="2800" dirty="0">
              <a:solidFill>
                <a:srgbClr val="F0EB07"/>
              </a:solidFill>
              <a:latin typeface="Arial Black" pitchFamily="34" charset="0"/>
              <a:ea typeface="+mn-ea"/>
              <a:cs typeface="+mn-cs"/>
            </a:endParaRPr>
          </a:p>
        </p:txBody>
      </p:sp>
      <p:pic>
        <p:nvPicPr>
          <p:cNvPr id="5122" name="Picture 2"/>
          <p:cNvPicPr>
            <a:picLocks noGrp="1" noChangeAspect="1" noChangeArrowheads="1"/>
          </p:cNvPicPr>
          <p:nvPr>
            <p:ph idx="1"/>
          </p:nvPr>
        </p:nvPicPr>
        <p:blipFill>
          <a:blip r:embed="rId2" cstate="print"/>
          <a:srcRect/>
          <a:stretch>
            <a:fillRect/>
          </a:stretch>
        </p:blipFill>
        <p:spPr bwMode="auto">
          <a:xfrm>
            <a:off x="655131" y="1409699"/>
            <a:ext cx="9107100" cy="44291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389" y="225950"/>
            <a:ext cx="7916862" cy="512133"/>
          </a:xfrm>
          <a:noFill/>
          <a:ln w="9525">
            <a:noFill/>
            <a:miter lim="800000"/>
            <a:headEnd/>
            <a:tailEnd/>
          </a:ln>
          <a:effectLst/>
        </p:spPr>
        <p:txBody>
          <a:bodyPr vert="horz" wrap="square" lIns="80460" tIns="40230" rIns="80460" bIns="40230" rtlCol="0" anchor="ctr">
            <a:spAutoFit/>
          </a:bodyPr>
          <a:lstStyle/>
          <a:p>
            <a:pPr defTabSz="957756"/>
            <a:r>
              <a:rPr lang="en-US" sz="2800" dirty="0" smtClean="0">
                <a:solidFill>
                  <a:schemeClr val="tx1"/>
                </a:solidFill>
                <a:latin typeface="Arial Black" pitchFamily="34" charset="0"/>
                <a:ea typeface="+mn-ea"/>
                <a:cs typeface="+mn-cs"/>
              </a:rPr>
              <a:t>Extending </a:t>
            </a:r>
            <a:r>
              <a:rPr lang="en-US" sz="2800" dirty="0" err="1" smtClean="0">
                <a:solidFill>
                  <a:srgbClr val="F0EB07"/>
                </a:solidFill>
                <a:latin typeface="Arial Black" pitchFamily="34" charset="0"/>
                <a:ea typeface="+mn-ea"/>
                <a:cs typeface="+mn-cs"/>
              </a:rPr>
              <a:t>MinkContext</a:t>
            </a:r>
            <a:r>
              <a:rPr lang="en-US" sz="2800" dirty="0" smtClean="0">
                <a:solidFill>
                  <a:schemeClr val="tx1"/>
                </a:solidFill>
                <a:latin typeface="Arial Black" pitchFamily="34" charset="0"/>
                <a:ea typeface="+mn-ea"/>
                <a:cs typeface="+mn-cs"/>
              </a:rPr>
              <a:t>  </a:t>
            </a:r>
            <a:r>
              <a:rPr lang="en-US" sz="2800" dirty="0" smtClean="0">
                <a:solidFill>
                  <a:schemeClr val="tx1"/>
                </a:solidFill>
                <a:latin typeface="Arial Black" pitchFamily="34" charset="0"/>
                <a:ea typeface="+mn-ea"/>
                <a:cs typeface="+mn-cs"/>
              </a:rPr>
              <a:t>&amp; Access</a:t>
            </a:r>
            <a:endParaRPr lang="en-US" sz="2800" dirty="0">
              <a:solidFill>
                <a:schemeClr val="tx1"/>
              </a:solidFill>
              <a:latin typeface="Arial Black" pitchFamily="34" charset="0"/>
              <a:ea typeface="+mn-ea"/>
              <a:cs typeface="+mn-cs"/>
            </a:endParaRPr>
          </a:p>
        </p:txBody>
      </p:sp>
      <p:pic>
        <p:nvPicPr>
          <p:cNvPr id="9218" name="Picture 2"/>
          <p:cNvPicPr>
            <a:picLocks noGrp="1" noChangeAspect="1" noChangeArrowheads="1"/>
          </p:cNvPicPr>
          <p:nvPr>
            <p:ph idx="1"/>
          </p:nvPr>
        </p:nvPicPr>
        <p:blipFill>
          <a:blip r:embed="rId3" cstate="print"/>
          <a:srcRect/>
          <a:stretch>
            <a:fillRect/>
          </a:stretch>
        </p:blipFill>
        <p:spPr bwMode="auto">
          <a:xfrm>
            <a:off x="547265" y="1523999"/>
            <a:ext cx="8415760" cy="1049071"/>
          </a:xfrm>
          <a:prstGeom prst="rect">
            <a:avLst/>
          </a:prstGeom>
          <a:noFill/>
          <a:ln w="9525">
            <a:noFill/>
            <a:miter lim="800000"/>
            <a:headEnd/>
            <a:tailEnd/>
          </a:ln>
        </p:spPr>
      </p:pic>
      <p:pic>
        <p:nvPicPr>
          <p:cNvPr id="9219" name="Picture 3"/>
          <p:cNvPicPr>
            <a:picLocks noChangeAspect="1" noChangeArrowheads="1"/>
          </p:cNvPicPr>
          <p:nvPr/>
        </p:nvPicPr>
        <p:blipFill>
          <a:blip r:embed="rId4" cstate="print"/>
          <a:srcRect/>
          <a:stretch>
            <a:fillRect/>
          </a:stretch>
        </p:blipFill>
        <p:spPr bwMode="auto">
          <a:xfrm>
            <a:off x="542925" y="2543175"/>
            <a:ext cx="8410576" cy="368617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438" y="219075"/>
            <a:ext cx="7697787" cy="725910"/>
          </a:xfrm>
        </p:spPr>
        <p:txBody>
          <a:bodyPr>
            <a:normAutofit/>
          </a:bodyPr>
          <a:lstStyle/>
          <a:p>
            <a:r>
              <a:rPr lang="en-US" sz="2800" dirty="0" smtClean="0">
                <a:solidFill>
                  <a:schemeClr val="tx1"/>
                </a:solidFill>
                <a:latin typeface="Cambria" pitchFamily="18" charset="0"/>
              </a:rPr>
              <a:t>If you want to run behat tests into selenium </a:t>
            </a:r>
            <a:endParaRPr lang="en-US" sz="2800" dirty="0">
              <a:solidFill>
                <a:schemeClr val="tx1"/>
              </a:solidFill>
              <a:latin typeface="Cambria" pitchFamily="18" charset="0"/>
            </a:endParaRPr>
          </a:p>
        </p:txBody>
      </p:sp>
      <p:pic>
        <p:nvPicPr>
          <p:cNvPr id="8194" name="Picture 2"/>
          <p:cNvPicPr>
            <a:picLocks noGrp="1" noChangeAspect="1" noChangeArrowheads="1"/>
          </p:cNvPicPr>
          <p:nvPr>
            <p:ph idx="1"/>
          </p:nvPr>
        </p:nvPicPr>
        <p:blipFill>
          <a:blip r:embed="rId2" cstate="print"/>
          <a:srcRect/>
          <a:stretch>
            <a:fillRect/>
          </a:stretch>
        </p:blipFill>
        <p:spPr bwMode="auto">
          <a:xfrm>
            <a:off x="267465" y="1514475"/>
            <a:ext cx="9227087" cy="456375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7975" y="359089"/>
            <a:ext cx="7429500" cy="512133"/>
          </a:xfrm>
          <a:noFill/>
          <a:ln w="9525">
            <a:noFill/>
            <a:miter lim="800000"/>
            <a:headEnd/>
            <a:tailEnd/>
          </a:ln>
          <a:effectLst/>
        </p:spPr>
        <p:txBody>
          <a:bodyPr vert="horz" wrap="square" lIns="80460" tIns="40230" rIns="80460" bIns="40230" rtlCol="0" anchor="ctr">
            <a:spAutoFit/>
          </a:bodyPr>
          <a:lstStyle/>
          <a:p>
            <a:pPr defTabSz="957756"/>
            <a:r>
              <a:rPr lang="en-US" sz="2800" dirty="0" smtClean="0">
                <a:solidFill>
                  <a:srgbClr val="F0EB07"/>
                </a:solidFill>
                <a:latin typeface="Arial Black" pitchFamily="34" charset="0"/>
                <a:ea typeface="+mn-ea"/>
                <a:cs typeface="+mn-cs"/>
              </a:rPr>
              <a:t>Smoke testing </a:t>
            </a:r>
            <a:r>
              <a:rPr lang="en-US" sz="2800" dirty="0" smtClean="0">
                <a:solidFill>
                  <a:schemeClr val="tx1"/>
                </a:solidFill>
                <a:latin typeface="Arial Black" pitchFamily="34" charset="0"/>
                <a:ea typeface="+mn-ea"/>
                <a:cs typeface="+mn-cs"/>
              </a:rPr>
              <a:t>CI</a:t>
            </a:r>
            <a:r>
              <a:rPr lang="en-US" sz="2800" dirty="0" smtClean="0">
                <a:solidFill>
                  <a:srgbClr val="F0EB07"/>
                </a:solidFill>
                <a:latin typeface="Arial Black" pitchFamily="34" charset="0"/>
                <a:ea typeface="+mn-ea"/>
                <a:cs typeface="+mn-cs"/>
              </a:rPr>
              <a:t> way</a:t>
            </a:r>
            <a:endParaRPr lang="en-US" sz="2800" dirty="0">
              <a:solidFill>
                <a:srgbClr val="F0EB07"/>
              </a:solidFill>
              <a:latin typeface="Arial Black" pitchFamily="34" charset="0"/>
              <a:ea typeface="+mn-ea"/>
              <a:cs typeface="+mn-cs"/>
            </a:endParaRPr>
          </a:p>
        </p:txBody>
      </p:sp>
      <p:sp>
        <p:nvSpPr>
          <p:cNvPr id="3" name="Content Placeholder 2"/>
          <p:cNvSpPr>
            <a:spLocks noGrp="1"/>
          </p:cNvSpPr>
          <p:nvPr>
            <p:ph idx="1"/>
          </p:nvPr>
        </p:nvSpPr>
        <p:spPr>
          <a:xfrm>
            <a:off x="330200" y="1381125"/>
            <a:ext cx="9080500" cy="4886325"/>
          </a:xfrm>
        </p:spPr>
        <p:txBody>
          <a:bodyPr>
            <a:normAutofit fontScale="92500" lnSpcReduction="10000"/>
          </a:bodyPr>
          <a:lstStyle/>
          <a:p>
            <a:pPr>
              <a:buNone/>
            </a:pPr>
            <a:r>
              <a:rPr lang="en-US" sz="1700" b="1" dirty="0" smtClean="0">
                <a:latin typeface="Cambria" pitchFamily="18" charset="0"/>
              </a:rPr>
              <a:t>Why </a:t>
            </a:r>
            <a:r>
              <a:rPr lang="en-US" sz="1700" b="1" dirty="0" smtClean="0">
                <a:latin typeface="Cambria" pitchFamily="18" charset="0"/>
              </a:rPr>
              <a:t>Jenkins</a:t>
            </a:r>
          </a:p>
          <a:p>
            <a:pPr>
              <a:buNone/>
            </a:pPr>
            <a:r>
              <a:rPr lang="en-US" sz="1300" dirty="0" smtClean="0">
                <a:latin typeface="Cambria" pitchFamily="18" charset="0"/>
              </a:rPr>
              <a:t>      </a:t>
            </a:r>
            <a:r>
              <a:rPr lang="en-US" sz="1300" dirty="0" smtClean="0">
                <a:latin typeface="Cambria" pitchFamily="18" charset="0"/>
              </a:rPr>
              <a:t>Jenkins is one open source tool to perform continuous integration. The basic functionality of Jenkins is to monitor a version control system and to start and monitor a build system (for example, Apache Ant or Maven) if changes occur. Jenkins monitors the whole build process and provides reports and notifications to alert maintainers on success or errors</a:t>
            </a:r>
            <a:r>
              <a:rPr lang="en-US" sz="1300" dirty="0" smtClean="0">
                <a:latin typeface="Cambria" pitchFamily="18" charset="0"/>
              </a:rPr>
              <a:t>.</a:t>
            </a:r>
          </a:p>
          <a:p>
            <a:pPr>
              <a:buNone/>
            </a:pPr>
            <a:endParaRPr lang="en-US" sz="1300" dirty="0" smtClean="0">
              <a:latin typeface="Cambria" pitchFamily="18" charset="0"/>
            </a:endParaRPr>
          </a:p>
          <a:p>
            <a:pPr>
              <a:buNone/>
            </a:pPr>
            <a:r>
              <a:rPr lang="en-US" sz="1700" b="1" dirty="0" smtClean="0">
                <a:latin typeface="Cambria" pitchFamily="18" charset="0"/>
              </a:rPr>
              <a:t>Selenium </a:t>
            </a:r>
            <a:r>
              <a:rPr lang="en-US" sz="1700" b="1" dirty="0" smtClean="0">
                <a:latin typeface="Cambria" pitchFamily="18" charset="0"/>
              </a:rPr>
              <a:t>Grid set up</a:t>
            </a:r>
          </a:p>
          <a:p>
            <a:pPr lvl="1"/>
            <a:r>
              <a:rPr lang="en-US" sz="1300" dirty="0" smtClean="0">
                <a:latin typeface="Cambria" pitchFamily="18" charset="0"/>
              </a:rPr>
              <a:t>Selenium grid set up is done in Linux machine wherein Jenkins is also installed and it will be continuously running and listening to nodes , which is again set up as a service.</a:t>
            </a:r>
          </a:p>
          <a:p>
            <a:pPr lvl="1"/>
            <a:r>
              <a:rPr lang="en-US" sz="1300" dirty="0" err="1" smtClean="0">
                <a:latin typeface="Cambria" pitchFamily="18" charset="0"/>
              </a:rPr>
              <a:t>Xfvb</a:t>
            </a:r>
            <a:r>
              <a:rPr lang="en-US" sz="1300" dirty="0" smtClean="0">
                <a:latin typeface="Cambria" pitchFamily="18" charset="0"/>
              </a:rPr>
              <a:t> server is used to capture screen in case a failure occurs on Firefox browser.</a:t>
            </a:r>
          </a:p>
          <a:p>
            <a:pPr marL="342900" lvl="1" indent="-342900">
              <a:buFont typeface="Arial" pitchFamily="34" charset="0"/>
              <a:buChar char="•"/>
            </a:pPr>
            <a:endParaRPr lang="en-US" sz="1300" dirty="0" smtClean="0">
              <a:latin typeface="Cambria" pitchFamily="18" charset="0"/>
            </a:endParaRPr>
          </a:p>
          <a:p>
            <a:pPr marL="342900" lvl="1" indent="-342900">
              <a:buNone/>
            </a:pPr>
            <a:r>
              <a:rPr lang="en-US" sz="1300" dirty="0" smtClean="0">
                <a:latin typeface="Cambria" pitchFamily="18" charset="0"/>
              </a:rPr>
              <a:t> </a:t>
            </a:r>
            <a:r>
              <a:rPr lang="en-US" sz="1700" b="1" dirty="0" smtClean="0">
                <a:latin typeface="Cambria" pitchFamily="18" charset="0"/>
              </a:rPr>
              <a:t>What </a:t>
            </a:r>
            <a:r>
              <a:rPr lang="en-US" sz="1700" b="1" dirty="0" smtClean="0">
                <a:latin typeface="Cambria" pitchFamily="18" charset="0"/>
              </a:rPr>
              <a:t>a Jenkins job accomplishes</a:t>
            </a:r>
            <a:r>
              <a:rPr lang="en-US" sz="1700" b="1" dirty="0" smtClean="0">
                <a:latin typeface="Cambria" pitchFamily="18" charset="0"/>
              </a:rPr>
              <a:t>:</a:t>
            </a:r>
            <a:endParaRPr lang="en-US" sz="1700" b="1" dirty="0" smtClean="0">
              <a:latin typeface="Cambria" pitchFamily="18" charset="0"/>
            </a:endParaRPr>
          </a:p>
          <a:p>
            <a:pPr lvl="1"/>
            <a:r>
              <a:rPr lang="en-US" sz="1300" dirty="0" smtClean="0">
                <a:latin typeface="Cambria" pitchFamily="18" charset="0"/>
              </a:rPr>
              <a:t>For every application to be tested in Jenkins a job is set up.</a:t>
            </a:r>
          </a:p>
          <a:p>
            <a:pPr lvl="1"/>
            <a:r>
              <a:rPr lang="en-US" sz="1300" dirty="0" smtClean="0">
                <a:latin typeface="Cambria" pitchFamily="18" charset="0"/>
              </a:rPr>
              <a:t>Inside a job ,a Jenkins user with appropriate access rights can download all behat tests from Central </a:t>
            </a:r>
            <a:r>
              <a:rPr lang="en-US" sz="1300" dirty="0" err="1" smtClean="0">
                <a:latin typeface="Cambria" pitchFamily="18" charset="0"/>
              </a:rPr>
              <a:t>Git</a:t>
            </a:r>
            <a:r>
              <a:rPr lang="en-US" sz="1300" dirty="0" smtClean="0">
                <a:latin typeface="Cambria" pitchFamily="18" charset="0"/>
              </a:rPr>
              <a:t> repository </a:t>
            </a:r>
          </a:p>
          <a:p>
            <a:pPr lvl="1">
              <a:buNone/>
            </a:pPr>
            <a:r>
              <a:rPr lang="en-US" sz="1300" dirty="0" smtClean="0">
                <a:latin typeface="Cambria" pitchFamily="18" charset="0"/>
              </a:rPr>
              <a:t>      </a:t>
            </a:r>
            <a:r>
              <a:rPr lang="en-US" sz="1300" dirty="0" smtClean="0">
                <a:latin typeface="Cambria" pitchFamily="18" charset="0"/>
              </a:rPr>
              <a:t>into </a:t>
            </a:r>
            <a:r>
              <a:rPr lang="en-US" sz="1300" dirty="0" smtClean="0">
                <a:latin typeface="Cambria" pitchFamily="18" charset="0"/>
              </a:rPr>
              <a:t>job’s workspace.</a:t>
            </a:r>
          </a:p>
          <a:p>
            <a:pPr lvl="1"/>
            <a:r>
              <a:rPr lang="en-US" sz="1300" dirty="0" smtClean="0">
                <a:latin typeface="Cambria" pitchFamily="18" charset="0"/>
              </a:rPr>
              <a:t>This central repository is maintained with latest test changes/ added with new behat tests from testers on daily basis.</a:t>
            </a:r>
          </a:p>
          <a:p>
            <a:pPr lvl="1"/>
            <a:r>
              <a:rPr lang="en-US" sz="1300" dirty="0" smtClean="0">
                <a:latin typeface="Cambria" pitchFamily="18" charset="0"/>
              </a:rPr>
              <a:t>A shell command execution step is included inside a job with proper command line options are set up for behat tests executions.</a:t>
            </a:r>
          </a:p>
          <a:p>
            <a:pPr lvl="1"/>
            <a:r>
              <a:rPr lang="en-US" sz="1300" dirty="0" smtClean="0">
                <a:latin typeface="Cambria" pitchFamily="18" charset="0"/>
              </a:rPr>
              <a:t>Once behat build job is started , each feature behat test will invoke Firefox instance and start replicating test steps as scripted.</a:t>
            </a:r>
          </a:p>
          <a:p>
            <a:pPr lvl="1"/>
            <a:r>
              <a:rPr lang="en-US" sz="1300" dirty="0" smtClean="0">
                <a:latin typeface="Cambria" pitchFamily="18" charset="0"/>
              </a:rPr>
              <a:t>At the end of execution with e-mail extension plug in , a list of participants will be informed about status of smoke tests.</a:t>
            </a:r>
          </a:p>
          <a:p>
            <a:pPr lvl="1"/>
            <a:r>
              <a:rPr lang="en-US" sz="1300" dirty="0" smtClean="0">
                <a:latin typeface="Cambria" pitchFamily="18" charset="0"/>
              </a:rPr>
              <a:t>These behat smoke tests job are triggered only after upstream development build job are over and completed.</a:t>
            </a:r>
          </a:p>
          <a:p>
            <a:pPr lvl="1">
              <a:buNone/>
            </a:pPr>
            <a:endParaRPr lang="en-US" sz="1200" dirty="0" smtClean="0"/>
          </a:p>
          <a:p>
            <a:pPr lvl="1">
              <a:buNone/>
            </a:pPr>
            <a:endParaRPr lang="en-US" sz="1200" dirty="0" smtClean="0"/>
          </a:p>
          <a:p>
            <a:pPr lvl="1">
              <a:buNone/>
            </a:pPr>
            <a:endParaRPr lang="en-US" sz="1200" dirty="0" smtClean="0"/>
          </a:p>
          <a:p>
            <a:pPr lvl="1">
              <a:buNone/>
            </a:pPr>
            <a:endParaRPr lang="en-US" sz="1200" dirty="0" smtClean="0"/>
          </a:p>
          <a:p>
            <a:pPr lvl="1">
              <a:buNone/>
            </a:pPr>
            <a:endParaRPr lang="en-US" sz="1200" dirty="0" smtClean="0"/>
          </a:p>
          <a:p>
            <a:pPr lvl="1">
              <a:buNone/>
            </a:pPr>
            <a:endParaRPr lang="en-US" sz="1200" dirty="0" smtClean="0"/>
          </a:p>
          <a:p>
            <a:pPr lvl="1"/>
            <a:endParaRPr lang="en-US" sz="1200" dirty="0" smtClean="0"/>
          </a:p>
          <a:p>
            <a:endParaRPr lang="en-US" sz="1400" dirty="0" smtClean="0"/>
          </a:p>
          <a:p>
            <a:endParaRPr lang="en-US" sz="1400" dirty="0" smtClean="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1857376" y="1142999"/>
            <a:ext cx="7200900" cy="5191125"/>
          </a:xfrm>
          <a:prstGeom prst="roundRect">
            <a:avLst>
              <a:gd name="adj" fmla="val 3603"/>
            </a:avLst>
          </a:prstGeom>
          <a:solidFill>
            <a:schemeClr val="accent1">
              <a:alpha val="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Cambria" pitchFamily="18" charset="0"/>
            </a:endParaRPr>
          </a:p>
        </p:txBody>
      </p:sp>
      <p:pic>
        <p:nvPicPr>
          <p:cNvPr id="5" name="Picture 3" descr="C:\Program Files (x86)\Microsoft Office\MEDIA\CAGCAT10\j0292020.wmf"/>
          <p:cNvPicPr>
            <a:picLocks noChangeAspect="1" noChangeArrowheads="1"/>
          </p:cNvPicPr>
          <p:nvPr/>
        </p:nvPicPr>
        <p:blipFill>
          <a:blip r:embed="rId2" cstate="print"/>
          <a:srcRect/>
          <a:stretch>
            <a:fillRect/>
          </a:stretch>
        </p:blipFill>
        <p:spPr bwMode="auto">
          <a:xfrm flipH="1">
            <a:off x="742950" y="1181100"/>
            <a:ext cx="930062" cy="882650"/>
          </a:xfrm>
          <a:prstGeom prst="rect">
            <a:avLst/>
          </a:prstGeom>
          <a:noFill/>
        </p:spPr>
      </p:pic>
      <p:sp>
        <p:nvSpPr>
          <p:cNvPr id="6" name="TextBox 5"/>
          <p:cNvSpPr txBox="1"/>
          <p:nvPr/>
        </p:nvSpPr>
        <p:spPr>
          <a:xfrm>
            <a:off x="2038350" y="914400"/>
            <a:ext cx="266700" cy="276999"/>
          </a:xfrm>
          <a:prstGeom prst="rect">
            <a:avLst/>
          </a:prstGeom>
          <a:noFill/>
        </p:spPr>
        <p:txBody>
          <a:bodyPr wrap="square" rtlCol="0">
            <a:spAutoFit/>
          </a:bodyPr>
          <a:lstStyle/>
          <a:p>
            <a:r>
              <a:rPr lang="en-US" sz="1200" dirty="0" smtClean="0">
                <a:latin typeface="Cambria" pitchFamily="18" charset="0"/>
              </a:rPr>
              <a:t>1</a:t>
            </a:r>
            <a:endParaRPr lang="en-US" sz="1200" dirty="0">
              <a:latin typeface="Cambria" pitchFamily="18" charset="0"/>
            </a:endParaRPr>
          </a:p>
        </p:txBody>
      </p:sp>
      <p:sp>
        <p:nvSpPr>
          <p:cNvPr id="7" name="Can 6"/>
          <p:cNvSpPr/>
          <p:nvPr/>
        </p:nvSpPr>
        <p:spPr>
          <a:xfrm>
            <a:off x="3009900" y="4943474"/>
            <a:ext cx="733425" cy="904875"/>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smtClean="0">
                <a:latin typeface="Cambria" pitchFamily="18" charset="0"/>
              </a:rPr>
              <a:t>Git central repository</a:t>
            </a:r>
            <a:endParaRPr lang="en-US" sz="1200" b="1" dirty="0" smtClean="0">
              <a:latin typeface="Cambria" pitchFamily="18" charset="0"/>
            </a:endParaRPr>
          </a:p>
        </p:txBody>
      </p:sp>
      <p:pic>
        <p:nvPicPr>
          <p:cNvPr id="8" name="Picture 5" descr="C:\Users\nirpatil\AppData\Local\Microsoft\Windows\Temporary Internet Files\Content.IE5\PTU9K4I8\MC900196086[1].wmf"/>
          <p:cNvPicPr>
            <a:picLocks noChangeAspect="1" noChangeArrowheads="1"/>
          </p:cNvPicPr>
          <p:nvPr/>
        </p:nvPicPr>
        <p:blipFill>
          <a:blip r:embed="rId3" cstate="print"/>
          <a:srcRect/>
          <a:stretch>
            <a:fillRect/>
          </a:stretch>
        </p:blipFill>
        <p:spPr bwMode="auto">
          <a:xfrm>
            <a:off x="514350" y="2286000"/>
            <a:ext cx="1203629" cy="793750"/>
          </a:xfrm>
          <a:prstGeom prst="rect">
            <a:avLst/>
          </a:prstGeom>
          <a:noFill/>
        </p:spPr>
      </p:pic>
      <p:sp>
        <p:nvSpPr>
          <p:cNvPr id="9" name="Rounded Rectangle 8"/>
          <p:cNvSpPr/>
          <p:nvPr/>
        </p:nvSpPr>
        <p:spPr>
          <a:xfrm>
            <a:off x="3819525" y="1476375"/>
            <a:ext cx="2209800" cy="3276600"/>
          </a:xfrm>
          <a:prstGeom prst="roundRect">
            <a:avLst>
              <a:gd name="adj" fmla="val 561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mbria" pitchFamily="18" charset="0"/>
            </a:endParaRPr>
          </a:p>
          <a:p>
            <a:pPr algn="ctr"/>
            <a:endParaRPr lang="en-US" sz="1200" dirty="0" smtClean="0">
              <a:latin typeface="Cambria" pitchFamily="18" charset="0"/>
            </a:endParaRPr>
          </a:p>
          <a:p>
            <a:pPr algn="ctr"/>
            <a:endParaRPr lang="en-US" sz="1200" dirty="0">
              <a:latin typeface="Cambria" pitchFamily="18" charset="0"/>
            </a:endParaRPr>
          </a:p>
          <a:p>
            <a:pPr algn="ctr"/>
            <a:endParaRPr lang="en-US" sz="1200" dirty="0" smtClean="0">
              <a:latin typeface="Cambria" pitchFamily="18" charset="0"/>
            </a:endParaRPr>
          </a:p>
          <a:p>
            <a:pPr algn="ctr"/>
            <a:endParaRPr lang="en-US" sz="1200" dirty="0">
              <a:latin typeface="Cambria" pitchFamily="18" charset="0"/>
            </a:endParaRPr>
          </a:p>
          <a:p>
            <a:pPr algn="ctr"/>
            <a:endParaRPr lang="en-US" sz="1200" dirty="0" smtClean="0">
              <a:latin typeface="Cambria" pitchFamily="18" charset="0"/>
            </a:endParaRPr>
          </a:p>
          <a:p>
            <a:pPr algn="ctr"/>
            <a:endParaRPr lang="en-US" sz="1200" dirty="0">
              <a:latin typeface="Cambria" pitchFamily="18" charset="0"/>
            </a:endParaRPr>
          </a:p>
          <a:p>
            <a:pPr algn="ctr"/>
            <a:endParaRPr lang="en-US" sz="1200" dirty="0" smtClean="0">
              <a:latin typeface="Cambria" pitchFamily="18" charset="0"/>
            </a:endParaRPr>
          </a:p>
          <a:p>
            <a:pPr algn="ctr"/>
            <a:endParaRPr lang="en-US" sz="1200" dirty="0">
              <a:latin typeface="Cambria" pitchFamily="18" charset="0"/>
            </a:endParaRPr>
          </a:p>
          <a:p>
            <a:pPr algn="ctr"/>
            <a:endParaRPr lang="en-US" sz="1200" dirty="0" smtClean="0">
              <a:latin typeface="Cambria" pitchFamily="18" charset="0"/>
            </a:endParaRPr>
          </a:p>
          <a:p>
            <a:pPr algn="ctr"/>
            <a:endParaRPr lang="en-US" sz="1200" dirty="0">
              <a:latin typeface="Cambria" pitchFamily="18" charset="0"/>
            </a:endParaRPr>
          </a:p>
          <a:p>
            <a:pPr algn="ctr"/>
            <a:endParaRPr lang="en-US" sz="1200" dirty="0" smtClean="0">
              <a:latin typeface="Cambria" pitchFamily="18" charset="0"/>
            </a:endParaRPr>
          </a:p>
          <a:p>
            <a:pPr algn="ctr"/>
            <a:endParaRPr lang="en-US" sz="1200" dirty="0" smtClean="0">
              <a:latin typeface="Cambria" pitchFamily="18" charset="0"/>
            </a:endParaRPr>
          </a:p>
          <a:p>
            <a:pPr algn="ctr"/>
            <a:endParaRPr lang="en-US" sz="1200" dirty="0" smtClean="0">
              <a:latin typeface="Cambria" pitchFamily="18" charset="0"/>
            </a:endParaRPr>
          </a:p>
          <a:p>
            <a:pPr algn="ctr"/>
            <a:r>
              <a:rPr lang="en-US" sz="1200" dirty="0" smtClean="0">
                <a:latin typeface="Cambria" pitchFamily="18" charset="0"/>
              </a:rPr>
              <a:t>Continuous </a:t>
            </a:r>
            <a:r>
              <a:rPr lang="en-US" sz="1200" dirty="0" smtClean="0">
                <a:latin typeface="Cambria" pitchFamily="18" charset="0"/>
              </a:rPr>
              <a:t>Integration Server Jenkins</a:t>
            </a:r>
          </a:p>
          <a:p>
            <a:pPr algn="ctr"/>
            <a:endParaRPr lang="en-US" sz="1200" dirty="0">
              <a:latin typeface="Cambria" pitchFamily="18" charset="0"/>
            </a:endParaRPr>
          </a:p>
        </p:txBody>
      </p:sp>
      <p:graphicFrame>
        <p:nvGraphicFramePr>
          <p:cNvPr id="10" name="Diagram 9"/>
          <p:cNvGraphicFramePr/>
          <p:nvPr/>
        </p:nvGraphicFramePr>
        <p:xfrm>
          <a:off x="3943350" y="1571625"/>
          <a:ext cx="1752600" cy="1295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TextBox 10"/>
          <p:cNvSpPr txBox="1"/>
          <p:nvPr/>
        </p:nvSpPr>
        <p:spPr>
          <a:xfrm>
            <a:off x="1352550" y="3714750"/>
            <a:ext cx="295275" cy="276999"/>
          </a:xfrm>
          <a:prstGeom prst="rect">
            <a:avLst/>
          </a:prstGeom>
          <a:noFill/>
        </p:spPr>
        <p:txBody>
          <a:bodyPr wrap="square" rtlCol="0">
            <a:spAutoFit/>
          </a:bodyPr>
          <a:lstStyle/>
          <a:p>
            <a:r>
              <a:rPr lang="en-US" sz="1200" dirty="0">
                <a:latin typeface="Cambria" pitchFamily="18" charset="0"/>
              </a:rPr>
              <a:t>3</a:t>
            </a:r>
          </a:p>
        </p:txBody>
      </p:sp>
      <p:pic>
        <p:nvPicPr>
          <p:cNvPr id="12" name="Picture 8" descr="C:\Users\nirpatil\AppData\Local\Microsoft\Windows\Temporary Internet Files\Content.IE5\3M7P13LA\MC900435242[1].png"/>
          <p:cNvPicPr>
            <a:picLocks noChangeAspect="1" noChangeArrowheads="1"/>
          </p:cNvPicPr>
          <p:nvPr/>
        </p:nvPicPr>
        <p:blipFill>
          <a:blip r:embed="rId9" cstate="print"/>
          <a:srcRect/>
          <a:stretch>
            <a:fillRect/>
          </a:stretch>
        </p:blipFill>
        <p:spPr bwMode="auto">
          <a:xfrm>
            <a:off x="666750" y="3962400"/>
            <a:ext cx="932329" cy="1219200"/>
          </a:xfrm>
          <a:prstGeom prst="rect">
            <a:avLst/>
          </a:prstGeom>
          <a:noFill/>
        </p:spPr>
      </p:pic>
      <p:sp>
        <p:nvSpPr>
          <p:cNvPr id="13" name="TextBox 12"/>
          <p:cNvSpPr txBox="1"/>
          <p:nvPr/>
        </p:nvSpPr>
        <p:spPr>
          <a:xfrm>
            <a:off x="1419225" y="5572125"/>
            <a:ext cx="381000" cy="276999"/>
          </a:xfrm>
          <a:prstGeom prst="rect">
            <a:avLst/>
          </a:prstGeom>
          <a:noFill/>
        </p:spPr>
        <p:txBody>
          <a:bodyPr wrap="square" rtlCol="0">
            <a:spAutoFit/>
          </a:bodyPr>
          <a:lstStyle/>
          <a:p>
            <a:r>
              <a:rPr lang="en-US" sz="1200" dirty="0" smtClean="0">
                <a:latin typeface="Cambria" pitchFamily="18" charset="0"/>
              </a:rPr>
              <a:t>4</a:t>
            </a:r>
            <a:endParaRPr lang="en-US" sz="1200" dirty="0">
              <a:latin typeface="Cambria" pitchFamily="18" charset="0"/>
            </a:endParaRPr>
          </a:p>
        </p:txBody>
      </p:sp>
      <p:pic>
        <p:nvPicPr>
          <p:cNvPr id="14" name="Picture 9" descr="D:\Users\nirpatil\Desktop\jira_logo_landing.png"/>
          <p:cNvPicPr>
            <a:picLocks noChangeAspect="1" noChangeArrowheads="1"/>
          </p:cNvPicPr>
          <p:nvPr/>
        </p:nvPicPr>
        <p:blipFill>
          <a:blip r:embed="rId10" cstate="print"/>
          <a:srcRect/>
          <a:stretch>
            <a:fillRect/>
          </a:stretch>
        </p:blipFill>
        <p:spPr bwMode="auto">
          <a:xfrm>
            <a:off x="2114550" y="2228850"/>
            <a:ext cx="797943" cy="381000"/>
          </a:xfrm>
          <a:prstGeom prst="rect">
            <a:avLst/>
          </a:prstGeom>
          <a:noFill/>
        </p:spPr>
      </p:pic>
      <p:cxnSp>
        <p:nvCxnSpPr>
          <p:cNvPr id="15" name="Straight Arrow Connector 14"/>
          <p:cNvCxnSpPr>
            <a:stCxn id="8" idx="2"/>
            <a:endCxn id="12" idx="0"/>
          </p:cNvCxnSpPr>
          <p:nvPr/>
        </p:nvCxnSpPr>
        <p:spPr>
          <a:xfrm>
            <a:off x="1116165" y="3079750"/>
            <a:ext cx="16750" cy="882650"/>
          </a:xfrm>
          <a:prstGeom prst="straightConnector1">
            <a:avLst/>
          </a:prstGeom>
          <a:ln w="22225">
            <a:tailEnd type="arrow"/>
          </a:ln>
        </p:spPr>
        <p:style>
          <a:lnRef idx="1">
            <a:schemeClr val="accent1"/>
          </a:lnRef>
          <a:fillRef idx="0">
            <a:schemeClr val="accent1"/>
          </a:fillRef>
          <a:effectRef idx="0">
            <a:schemeClr val="accent1"/>
          </a:effectRef>
          <a:fontRef idx="minor">
            <a:schemeClr val="tx1"/>
          </a:fontRef>
        </p:style>
      </p:cxnSp>
      <p:cxnSp>
        <p:nvCxnSpPr>
          <p:cNvPr id="16" name="Elbow Connector 43"/>
          <p:cNvCxnSpPr>
            <a:endCxn id="46" idx="2"/>
          </p:cNvCxnSpPr>
          <p:nvPr/>
        </p:nvCxnSpPr>
        <p:spPr>
          <a:xfrm>
            <a:off x="733424" y="4333874"/>
            <a:ext cx="1219201" cy="1123951"/>
          </a:xfrm>
          <a:prstGeom prst="bentConnector3">
            <a:avLst>
              <a:gd name="adj1" fmla="val -16406"/>
            </a:avLst>
          </a:prstGeom>
          <a:ln w="22225">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1628775" y="1685925"/>
            <a:ext cx="904875" cy="0"/>
          </a:xfrm>
          <a:prstGeom prst="straightConnector1">
            <a:avLst/>
          </a:prstGeom>
          <a:ln w="22225">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2114550" y="3733800"/>
            <a:ext cx="0" cy="1371600"/>
          </a:xfrm>
          <a:prstGeom prst="straightConnector1">
            <a:avLst/>
          </a:prstGeom>
          <a:ln w="22225">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43" idx="0"/>
            <a:endCxn id="14" idx="2"/>
          </p:cNvCxnSpPr>
          <p:nvPr/>
        </p:nvCxnSpPr>
        <p:spPr>
          <a:xfrm flipH="1" flipV="1">
            <a:off x="2513522" y="2609850"/>
            <a:ext cx="15366" cy="666750"/>
          </a:xfrm>
          <a:prstGeom prst="straightConnector1">
            <a:avLst/>
          </a:prstGeom>
          <a:ln w="22225">
            <a:tailEnd type="arrow"/>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2276475" y="4505325"/>
            <a:ext cx="381000" cy="276999"/>
          </a:xfrm>
          <a:prstGeom prst="rect">
            <a:avLst/>
          </a:prstGeom>
          <a:noFill/>
        </p:spPr>
        <p:txBody>
          <a:bodyPr wrap="square" rtlCol="0">
            <a:spAutoFit/>
          </a:bodyPr>
          <a:lstStyle/>
          <a:p>
            <a:r>
              <a:rPr lang="en-US" sz="1200" dirty="0" smtClean="0">
                <a:latin typeface="Cambria" pitchFamily="18" charset="0"/>
              </a:rPr>
              <a:t>5</a:t>
            </a:r>
            <a:endParaRPr lang="en-US" sz="1200" dirty="0">
              <a:latin typeface="Cambria" pitchFamily="18" charset="0"/>
            </a:endParaRPr>
          </a:p>
        </p:txBody>
      </p:sp>
      <p:sp>
        <p:nvSpPr>
          <p:cNvPr id="21" name="TextBox 20"/>
          <p:cNvSpPr txBox="1"/>
          <p:nvPr/>
        </p:nvSpPr>
        <p:spPr>
          <a:xfrm>
            <a:off x="3228975" y="4029075"/>
            <a:ext cx="381000" cy="276999"/>
          </a:xfrm>
          <a:prstGeom prst="rect">
            <a:avLst/>
          </a:prstGeom>
          <a:noFill/>
        </p:spPr>
        <p:txBody>
          <a:bodyPr wrap="square" rtlCol="0">
            <a:spAutoFit/>
          </a:bodyPr>
          <a:lstStyle/>
          <a:p>
            <a:r>
              <a:rPr lang="en-US" sz="1200" dirty="0" smtClean="0">
                <a:latin typeface="Cambria" pitchFamily="18" charset="0"/>
              </a:rPr>
              <a:t>6</a:t>
            </a:r>
            <a:endParaRPr lang="en-US" sz="1200" dirty="0">
              <a:latin typeface="Cambria" pitchFamily="18" charset="0"/>
            </a:endParaRPr>
          </a:p>
        </p:txBody>
      </p:sp>
      <p:sp>
        <p:nvSpPr>
          <p:cNvPr id="22" name="Snip Single Corner Rectangle 21"/>
          <p:cNvSpPr/>
          <p:nvPr/>
        </p:nvSpPr>
        <p:spPr>
          <a:xfrm>
            <a:off x="4019550" y="3324225"/>
            <a:ext cx="609600" cy="457200"/>
          </a:xfrm>
          <a:prstGeom prst="snip1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Cambria" pitchFamily="18" charset="0"/>
              </a:rPr>
              <a:t>Shell</a:t>
            </a:r>
          </a:p>
          <a:p>
            <a:pPr algn="ctr"/>
            <a:r>
              <a:rPr lang="en-US" sz="1200" dirty="0" smtClean="0">
                <a:solidFill>
                  <a:schemeClr val="tx1"/>
                </a:solidFill>
                <a:latin typeface="Cambria" pitchFamily="18" charset="0"/>
              </a:rPr>
              <a:t>Script</a:t>
            </a:r>
            <a:endParaRPr lang="en-US" sz="1200" dirty="0">
              <a:solidFill>
                <a:schemeClr val="tx1"/>
              </a:solidFill>
              <a:latin typeface="Cambria" pitchFamily="18" charset="0"/>
            </a:endParaRPr>
          </a:p>
        </p:txBody>
      </p:sp>
      <p:cxnSp>
        <p:nvCxnSpPr>
          <p:cNvPr id="23" name="Elbow Connector 61"/>
          <p:cNvCxnSpPr>
            <a:stCxn id="7" idx="4"/>
            <a:endCxn id="9" idx="2"/>
          </p:cNvCxnSpPr>
          <p:nvPr/>
        </p:nvCxnSpPr>
        <p:spPr>
          <a:xfrm flipV="1">
            <a:off x="3743325" y="4752975"/>
            <a:ext cx="1181100" cy="642937"/>
          </a:xfrm>
          <a:prstGeom prst="bentConnector2">
            <a:avLst/>
          </a:prstGeom>
          <a:ln w="22225">
            <a:tailEnd type="arrow"/>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3924300" y="5095875"/>
            <a:ext cx="381000" cy="276999"/>
          </a:xfrm>
          <a:prstGeom prst="rect">
            <a:avLst/>
          </a:prstGeom>
          <a:noFill/>
        </p:spPr>
        <p:txBody>
          <a:bodyPr wrap="square" rtlCol="0">
            <a:spAutoFit/>
          </a:bodyPr>
          <a:lstStyle/>
          <a:p>
            <a:r>
              <a:rPr lang="en-US" sz="1200" dirty="0" smtClean="0">
                <a:latin typeface="Cambria" pitchFamily="18" charset="0"/>
              </a:rPr>
              <a:t>7</a:t>
            </a:r>
            <a:endParaRPr lang="en-US" sz="1200" dirty="0">
              <a:latin typeface="Cambria" pitchFamily="18" charset="0"/>
            </a:endParaRPr>
          </a:p>
        </p:txBody>
      </p:sp>
      <p:pic>
        <p:nvPicPr>
          <p:cNvPr id="25" name="Picture 13" descr="C:\Users\nirpatil\AppData\Local\Microsoft\Windows\Temporary Internet Files\Content.IE5\PTU9K4I8\MC900030044[1].wmf"/>
          <p:cNvPicPr>
            <a:picLocks noChangeAspect="1" noChangeArrowheads="1"/>
          </p:cNvPicPr>
          <p:nvPr/>
        </p:nvPicPr>
        <p:blipFill>
          <a:blip r:embed="rId11" cstate="print"/>
          <a:srcRect/>
          <a:stretch>
            <a:fillRect/>
          </a:stretch>
        </p:blipFill>
        <p:spPr bwMode="auto">
          <a:xfrm rot="591043">
            <a:off x="5134134" y="5230673"/>
            <a:ext cx="758001" cy="846619"/>
          </a:xfrm>
          <a:prstGeom prst="rect">
            <a:avLst/>
          </a:prstGeom>
          <a:noFill/>
        </p:spPr>
      </p:pic>
      <p:cxnSp>
        <p:nvCxnSpPr>
          <p:cNvPr id="26" name="Straight Arrow Connector 25"/>
          <p:cNvCxnSpPr/>
          <p:nvPr/>
        </p:nvCxnSpPr>
        <p:spPr>
          <a:xfrm flipH="1">
            <a:off x="5467350" y="4762500"/>
            <a:ext cx="9525" cy="542925"/>
          </a:xfrm>
          <a:prstGeom prst="straightConnector1">
            <a:avLst/>
          </a:prstGeom>
          <a:ln w="22225">
            <a:tailEnd type="arrow"/>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6086475" y="3838575"/>
            <a:ext cx="285750" cy="276999"/>
          </a:xfrm>
          <a:prstGeom prst="rect">
            <a:avLst/>
          </a:prstGeom>
          <a:noFill/>
        </p:spPr>
        <p:txBody>
          <a:bodyPr wrap="square" rtlCol="0">
            <a:spAutoFit/>
          </a:bodyPr>
          <a:lstStyle/>
          <a:p>
            <a:r>
              <a:rPr lang="en-US" sz="1200" dirty="0" smtClean="0">
                <a:latin typeface="Cambria" pitchFamily="18" charset="0"/>
              </a:rPr>
              <a:t>9</a:t>
            </a:r>
            <a:endParaRPr lang="en-US" sz="1200" dirty="0">
              <a:latin typeface="Cambria" pitchFamily="18" charset="0"/>
            </a:endParaRPr>
          </a:p>
        </p:txBody>
      </p:sp>
      <p:pic>
        <p:nvPicPr>
          <p:cNvPr id="28" name="Picture 14" descr="C:\Users\nirpatil\AppData\Local\Microsoft\Windows\Temporary Internet Files\Content.IE5\XVPVAZJG\MC900432531[1].png"/>
          <p:cNvPicPr>
            <a:picLocks noChangeAspect="1" noChangeArrowheads="1"/>
          </p:cNvPicPr>
          <p:nvPr/>
        </p:nvPicPr>
        <p:blipFill>
          <a:blip r:embed="rId12" cstate="print"/>
          <a:srcRect/>
          <a:stretch>
            <a:fillRect/>
          </a:stretch>
        </p:blipFill>
        <p:spPr bwMode="auto">
          <a:xfrm>
            <a:off x="4705350" y="3171825"/>
            <a:ext cx="304800" cy="304800"/>
          </a:xfrm>
          <a:prstGeom prst="rect">
            <a:avLst/>
          </a:prstGeom>
          <a:noFill/>
        </p:spPr>
      </p:pic>
      <p:pic>
        <p:nvPicPr>
          <p:cNvPr id="29" name="Picture 16" descr="C:\Users\nirpatil\AppData\Local\Microsoft\Windows\Temporary Internet Files\Content.IE5\3M7P13LA\MC900441469[1].png"/>
          <p:cNvPicPr>
            <a:picLocks noChangeAspect="1" noChangeArrowheads="1"/>
          </p:cNvPicPr>
          <p:nvPr/>
        </p:nvPicPr>
        <p:blipFill>
          <a:blip r:embed="rId13" cstate="print"/>
          <a:srcRect/>
          <a:stretch>
            <a:fillRect/>
          </a:stretch>
        </p:blipFill>
        <p:spPr bwMode="auto">
          <a:xfrm>
            <a:off x="4048125" y="5767387"/>
            <a:ext cx="571500" cy="571500"/>
          </a:xfrm>
          <a:prstGeom prst="rect">
            <a:avLst/>
          </a:prstGeom>
          <a:noFill/>
        </p:spPr>
      </p:pic>
      <p:cxnSp>
        <p:nvCxnSpPr>
          <p:cNvPr id="30" name="Elbow Connector 86"/>
          <p:cNvCxnSpPr>
            <a:stCxn id="25" idx="2"/>
          </p:cNvCxnSpPr>
          <p:nvPr/>
        </p:nvCxnSpPr>
        <p:spPr>
          <a:xfrm rot="5400000">
            <a:off x="4938546" y="5685455"/>
            <a:ext cx="116573" cy="887764"/>
          </a:xfrm>
          <a:prstGeom prst="bentConnector2">
            <a:avLst/>
          </a:prstGeom>
          <a:ln w="22225">
            <a:tailEnd type="arrow"/>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6391275" y="1133475"/>
            <a:ext cx="2390775" cy="5262979"/>
          </a:xfrm>
          <a:prstGeom prst="rect">
            <a:avLst/>
          </a:prstGeom>
          <a:noFill/>
        </p:spPr>
        <p:txBody>
          <a:bodyPr wrap="square" rtlCol="0">
            <a:spAutoFit/>
          </a:bodyPr>
          <a:lstStyle/>
          <a:p>
            <a:pPr marL="342900" lvl="0" indent="-342900">
              <a:buAutoNum type="arabicPeriod"/>
            </a:pPr>
            <a:r>
              <a:rPr lang="en-GB" sz="1200" b="1" dirty="0" smtClean="0">
                <a:latin typeface="Cambria" pitchFamily="18" charset="0"/>
              </a:rPr>
              <a:t>JIRA Ticket is created and tester develops behat test.</a:t>
            </a:r>
          </a:p>
          <a:p>
            <a:pPr marL="342900" indent="-342900">
              <a:buFontTx/>
              <a:buAutoNum type="arabicPeriod"/>
            </a:pPr>
            <a:r>
              <a:rPr lang="en-GB" sz="1200" b="1" dirty="0" smtClean="0">
                <a:latin typeface="Cambria" pitchFamily="18" charset="0"/>
              </a:rPr>
              <a:t>Behat test is written</a:t>
            </a:r>
            <a:r>
              <a:rPr lang="en-GB" sz="1200" b="1" dirty="0" smtClean="0">
                <a:latin typeface="Cambria" pitchFamily="18" charset="0"/>
              </a:rPr>
              <a:t>.</a:t>
            </a:r>
            <a:endParaRPr lang="en-GB" sz="1200" b="1" dirty="0" smtClean="0">
              <a:latin typeface="Cambria" pitchFamily="18" charset="0"/>
            </a:endParaRPr>
          </a:p>
          <a:p>
            <a:pPr marL="342900" indent="-342900">
              <a:buFontTx/>
              <a:buAutoNum type="arabicPeriod"/>
            </a:pPr>
            <a:r>
              <a:rPr lang="en-GB" sz="1200" b="1" dirty="0" smtClean="0">
                <a:latin typeface="Cambria" pitchFamily="18" charset="0"/>
              </a:rPr>
              <a:t>Behat test verified against SIT and UAT environments.</a:t>
            </a:r>
          </a:p>
          <a:p>
            <a:pPr marL="342900" lvl="0" indent="-342900">
              <a:buFontTx/>
              <a:buAutoNum type="arabicPeriod"/>
            </a:pPr>
            <a:r>
              <a:rPr lang="en-GB" sz="1200" b="1" dirty="0" smtClean="0">
                <a:latin typeface="Cambria" pitchFamily="18" charset="0"/>
              </a:rPr>
              <a:t>Completed test is committed to new Git feature branch</a:t>
            </a:r>
            <a:r>
              <a:rPr lang="en-GB" sz="1200" b="1" dirty="0" smtClean="0">
                <a:latin typeface="Cambria" pitchFamily="18" charset="0"/>
              </a:rPr>
              <a:t>.</a:t>
            </a:r>
            <a:endParaRPr lang="en-GB" sz="1200" b="1" dirty="0" smtClean="0">
              <a:latin typeface="Cambria" pitchFamily="18" charset="0"/>
            </a:endParaRPr>
          </a:p>
          <a:p>
            <a:pPr marL="342900" indent="-342900">
              <a:buFontTx/>
              <a:buAutoNum type="arabicPeriod"/>
            </a:pPr>
            <a:r>
              <a:rPr lang="en-GB" sz="1200" b="1" dirty="0" smtClean="0">
                <a:latin typeface="Cambria" pitchFamily="18" charset="0"/>
              </a:rPr>
              <a:t>Pull request (review ticket )is created in Git tool for review.</a:t>
            </a:r>
          </a:p>
          <a:p>
            <a:pPr marL="342900" indent="-342900">
              <a:buFontTx/>
              <a:buAutoNum type="arabicPeriod"/>
            </a:pPr>
            <a:r>
              <a:rPr lang="en-GB" sz="1200" b="1" dirty="0" smtClean="0">
                <a:latin typeface="Cambria" pitchFamily="18" charset="0"/>
              </a:rPr>
              <a:t>After review completion JIRA ticket is updated.</a:t>
            </a:r>
          </a:p>
          <a:p>
            <a:pPr marL="342900" indent="-342900"/>
            <a:r>
              <a:rPr lang="en-GB" sz="1200" b="1" dirty="0" smtClean="0">
                <a:latin typeface="Cambria" pitchFamily="18" charset="0"/>
              </a:rPr>
              <a:t>	and behat test is merged in </a:t>
            </a:r>
            <a:r>
              <a:rPr lang="en-GB" sz="1200" b="1" i="1" dirty="0" smtClean="0">
                <a:latin typeface="Cambria" pitchFamily="18" charset="0"/>
              </a:rPr>
              <a:t>Git central repository</a:t>
            </a:r>
            <a:r>
              <a:rPr lang="en-GB" sz="1200" b="1" i="1" dirty="0" smtClean="0">
                <a:latin typeface="Cambria" pitchFamily="18" charset="0"/>
              </a:rPr>
              <a:t>.</a:t>
            </a:r>
            <a:endParaRPr lang="en-GB" sz="1200" b="1" dirty="0" smtClean="0">
              <a:latin typeface="Cambria" pitchFamily="18" charset="0"/>
            </a:endParaRPr>
          </a:p>
          <a:p>
            <a:pPr marL="342900" indent="-342900"/>
            <a:r>
              <a:rPr lang="en-GB" sz="1200" b="1" dirty="0" smtClean="0">
                <a:latin typeface="Cambria" pitchFamily="18" charset="0"/>
              </a:rPr>
              <a:t>7.     Jenkins build checks out latest behat tests from Git repo.</a:t>
            </a:r>
          </a:p>
          <a:p>
            <a:pPr marL="342900" indent="-342900">
              <a:buAutoNum type="arabicPeriod" startAt="8"/>
            </a:pPr>
            <a:r>
              <a:rPr lang="en-GB" sz="1200" b="1" dirty="0" smtClean="0">
                <a:latin typeface="Cambria" pitchFamily="18" charset="0"/>
              </a:rPr>
              <a:t>Currently daily 3 builds execute  smoke tests in test environment</a:t>
            </a:r>
            <a:r>
              <a:rPr lang="en-GB" sz="1200" b="1" dirty="0" smtClean="0">
                <a:latin typeface="Cambria" pitchFamily="18" charset="0"/>
              </a:rPr>
              <a:t>.</a:t>
            </a:r>
            <a:endParaRPr lang="en-GB" sz="1200" b="1" dirty="0" smtClean="0">
              <a:latin typeface="Cambria" pitchFamily="18" charset="0"/>
            </a:endParaRPr>
          </a:p>
          <a:p>
            <a:pPr marL="342900" lvl="0" indent="-342900"/>
            <a:r>
              <a:rPr lang="en-GB" sz="1200" b="1" dirty="0" smtClean="0">
                <a:latin typeface="Cambria" pitchFamily="18" charset="0"/>
              </a:rPr>
              <a:t>9.      Build produces behat test in HTML format.</a:t>
            </a:r>
          </a:p>
          <a:p>
            <a:pPr marL="342900" lvl="0" indent="-342900"/>
            <a:r>
              <a:rPr lang="en-GB" sz="1200" b="1" dirty="0" smtClean="0">
                <a:latin typeface="Cambria" pitchFamily="18" charset="0"/>
              </a:rPr>
              <a:t>10.    Also HTML report/s mailed to everyone in team with Failure screens, (if any) daily from Jenkins.</a:t>
            </a:r>
            <a:endParaRPr lang="en-US" sz="1200" dirty="0">
              <a:latin typeface="Cambria" pitchFamily="18" charset="0"/>
            </a:endParaRPr>
          </a:p>
        </p:txBody>
      </p:sp>
      <p:cxnSp>
        <p:nvCxnSpPr>
          <p:cNvPr id="32" name="Elbow Connector 61"/>
          <p:cNvCxnSpPr>
            <a:stCxn id="43" idx="2"/>
            <a:endCxn id="7" idx="1"/>
          </p:cNvCxnSpPr>
          <p:nvPr/>
        </p:nvCxnSpPr>
        <p:spPr>
          <a:xfrm rot="16200000" flipH="1">
            <a:off x="2371726" y="3938587"/>
            <a:ext cx="1162048" cy="847725"/>
          </a:xfrm>
          <a:prstGeom prst="bentConnector3">
            <a:avLst>
              <a:gd name="adj1" fmla="val 50000"/>
            </a:avLst>
          </a:prstGeom>
          <a:ln w="22225">
            <a:tailEnd type="arrow"/>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1476375" y="2914650"/>
            <a:ext cx="381000" cy="276999"/>
          </a:xfrm>
          <a:prstGeom prst="rect">
            <a:avLst/>
          </a:prstGeom>
          <a:noFill/>
        </p:spPr>
        <p:txBody>
          <a:bodyPr wrap="square" rtlCol="0">
            <a:spAutoFit/>
          </a:bodyPr>
          <a:lstStyle/>
          <a:p>
            <a:r>
              <a:rPr lang="en-US" sz="1200" dirty="0">
                <a:latin typeface="Cambria" pitchFamily="18" charset="0"/>
              </a:rPr>
              <a:t>2</a:t>
            </a:r>
          </a:p>
        </p:txBody>
      </p:sp>
      <p:sp>
        <p:nvSpPr>
          <p:cNvPr id="34" name="TextBox 33"/>
          <p:cNvSpPr txBox="1"/>
          <p:nvPr/>
        </p:nvSpPr>
        <p:spPr>
          <a:xfrm>
            <a:off x="5572125" y="6038850"/>
            <a:ext cx="457200" cy="276999"/>
          </a:xfrm>
          <a:prstGeom prst="rect">
            <a:avLst/>
          </a:prstGeom>
          <a:noFill/>
        </p:spPr>
        <p:txBody>
          <a:bodyPr wrap="square" rtlCol="0">
            <a:spAutoFit/>
          </a:bodyPr>
          <a:lstStyle/>
          <a:p>
            <a:r>
              <a:rPr lang="en-US" sz="1200" dirty="0" smtClean="0">
                <a:latin typeface="Cambria" pitchFamily="18" charset="0"/>
              </a:rPr>
              <a:t>10</a:t>
            </a:r>
            <a:endParaRPr lang="en-US" sz="1200" dirty="0">
              <a:latin typeface="Cambria" pitchFamily="18" charset="0"/>
            </a:endParaRPr>
          </a:p>
        </p:txBody>
      </p:sp>
      <p:pic>
        <p:nvPicPr>
          <p:cNvPr id="35" name="Picture 8" descr="C:\Users\nirpatil\AppData\Local\Microsoft\Windows\Temporary Internet Files\Content.IE5\3M7P13LA\MC900435242[1].png"/>
          <p:cNvPicPr>
            <a:picLocks noChangeAspect="1" noChangeArrowheads="1"/>
          </p:cNvPicPr>
          <p:nvPr/>
        </p:nvPicPr>
        <p:blipFill>
          <a:blip r:embed="rId9" cstate="print"/>
          <a:srcRect/>
          <a:stretch>
            <a:fillRect/>
          </a:stretch>
        </p:blipFill>
        <p:spPr bwMode="auto">
          <a:xfrm>
            <a:off x="5181600" y="2971800"/>
            <a:ext cx="838200" cy="1160585"/>
          </a:xfrm>
          <a:prstGeom prst="rect">
            <a:avLst/>
          </a:prstGeom>
          <a:noFill/>
        </p:spPr>
      </p:pic>
      <p:sp>
        <p:nvSpPr>
          <p:cNvPr id="36" name="AutoShape 2" descr="data:image/jpeg;base64,/9j/4AAQSkZJRgABAQAAAQABAAD/2wCEAAkGBxQTEBITExQVFBUTFBgZGRgVFRQYFhQXGB4XGBUVFxYYHCogGBolHBYWITEhJSkrLi4uGCAzODMsNygtLisBCgoKDg0OGxAQGiwkHyQwLSwyLi00LDQsNzAtLCwsLCw3LCwuLCwvLCwsLCwsLCwsLCwsLCwvNCwsLCwsLCwsNP/AABEIAOEA4QMBIgACEQEDEQH/xAAcAAEAAgIDAQAAAAAAAAAAAAAABgcEBQIDCAH/xABDEAABAwIDBAcECQEGBwEAAAABAAIDBBEFEiEGEzFBByJRYXGBkRQyobEjQlJicoKiwdGSU2NzssLwFSQzk6PS4Rb/xAAaAQEAAgMBAAAAAAAAAAAAAAAAAgQBAwUG/8QALxEAAgEDAgMGBQUBAAAAAAAAAAECAwQRITEFEkETIlFxscGBkaHR4SMyYfDxFP/aAAwDAQACEQMRAD8AvFERAEREAREQBERAEREAREQBERAEREAREQBERAEREAREQBERAEREAREQBERAEREAREQBERAEREARFhYpisVPG6SaRrGt4lxAA9UBmr4Sqh2h6aWAubRxGS315Ltb3HL7x88qiNNtFjOJSFsD5D27kNjjZ+KQ6jwLr+KGcHoreDtHqF9Dx2j1VHxdHGKPF5K/K48t/Uu+Oi4ybDYzDrDWby3IVEoJ/LIMvqVHnj4meVl6IqEi27xfD3NFZEXM/vWBt+5s0fUJ8irP2M28pq9tmHJKB1o36OHeOTm9487KRjBLEREMBERAEREAREQBERAEREAREQBERAEREAREQBEUb242oioaZ73uAeWkRt5vdbRoHpfsCA0u3XSEKaQUtKz2irfYBjbkNJ4F1teGthy1JA1UHxTDGtvU4zO6olAzCmjdljiHLMRw8rX+8tLsbjj2b58FNLV18xdnlIBZEHG/VtfidTfKOA4Bb7Y6hfUYpuq6Pdvhj9o3TyHGV1wGvcQbFrS69u23YsN4WSSRtMC2XkrmMfUxtpKLR0dHC3IZLatfO4WI7baHw5z+lhjhY2OFjWMaLBrAGtHgAuyaTktXjmOU9GwPqZRGHe6LFz3245WN1Kqym5M3qKS1NmZSuOc9pWk2d2ppq3P7O8uLLZmuaWuAPA2PEd4W6Wt5W5NY6HyVoc0tcA5rhYtcAWkdhB0IVY7abBGE+2YdmifF1jHHfS3F0Q5acWcCOHYbPWn2n2jjoYmyOY+V8j8kccYu57rFx8AAOOvgpQlJPQxJLGp1dGO3ja+LdyWbURgZgODxykZ3Hs5HxBM8Xlitx7d4j7XTwupXh2d0JcbZjfOPdaQ145EaEm3K3pjAcSbU00U7DdsjGuHgQCL9+qulVmeiIhgIiIAiIgCIiAIiIAiIgCIiAIiIAiIgPj3WBPYF55xJhxXGZ968tp6fNmI+rFEcpDfvPffXsPcFb23e2MNBCS/rSPBDIwes48/ADmeV+0gKkNjaglte7nI6C/m6Z5HqAhlEqmxgtYIaZop4G6NZHoT3ucNS48/3XVsIHOxpz9Tlo3ZiddXPYBc/74LAUh6LYLzV83PPFEO4NbmPxcFCo8RZKCzIsEuA1PAa+irrZXZv/iDnYliDd4ZzeGF3uMi1yXHMW4DhzNydLGXwBVFJpaFlrJhUGD08Di6GCKIkZSY42sJA1AOUahZyTU2eN7QS0ua5oI0LSQQDfu4rT7LYr7RTNL7CaMmOdvNkzOq8EcrkXHcQsYeMjK2Nwvltb8xz5i/H5BajanGfZIWzEAsE0TZCb9SN7g179OYuCtuDfzTANPtTs3FWwujkaM9ju5LdaN3Ig9naOBWD0IVrjQvgf71NM+Mjssb28i4jyWVjtcaatpHOP0NSHQOJOjJvfgPdm+kb5haXozq2Q4ritOXBpfUOka0nUhznF1h3Xb6hWKOVoaauHqWsiIt5pCIiAIiIAiIgCIiAIiIAiIgCIiALR7YbRx0NK+aTkLNaOL3H3WjvJ/c8lunusCTyXnfbvGnYniO7aTuICWi17GxtI/zIyjuF+ZWG0llk6dOVSShHdmpdLJWzSVtWbt1NuVm3IY37g+Jv3rnsrgNRWe0PjkbS0+a80rzZjbXc1o4XIzdoFjqeAWdi4Ap5GNFgGEWHIAcFLcGpIn7Mg5A/dxzy5eTpWb22YfWsbEA8wOxV4VHLMvgdS/to26hSj4Zb8X9l0ItjOy8tJTispqxlZAHAPLNQ25AB0c4EXIBIIIuPKS9FVeDNVxjhK2KdvmN28fpb6r5hmw243DY3SOhraZ8NWLjRzoy5kzRys64HG1x2lb7ZLYWCgkdKx8skjmFl3ltg0lpIDWgDi0am/BZnNOLRz4xaeSVIiKubiH7VVuLRT5qOKKaAtHVIGcO1zXu9ptwta6wNicKrjXz11XG2nEseUxst9I4Zcry0OdwDTqTfVT9FPn0xgjy65MPF8OZUQSwSe7KwtNuIvwcO8GxHgoZsTi8jDLhNU8sqIWubFJ/aR26pYTxc0WI7QO1pVgFqiu3WyvtkbZIju6qDrRPGhNtd2TyF9QeR7rgotbMNdUaKPo7qZXt9txCSaJrgcjS8FxHA3c6zPEAnsI4qE7WxyNxStlhcWvgma4Fp6w6o6wPO1tRzBKtPo52mdX0hkkbZ8b8jiPdecrXZgOWjhcdqrmSbeVuIScnVUjR3hhLQfQBSc5Ry30N1rbxr1FDo8+j9y2+jTbNtfT2dYTx2EjR8HN+6beWo5KZrzFQ178Oro6mO+Qmzmjm02zs+Th3gL0ph1a2aJkrCHNe0EEcCCLgqzGSksop1qMqU3CW6MlERSNQREQBERAEREAREQBERAEREBC+ljHzSYfJkNpJbRs11BdxI8G5nflVN7N0m7gz/AFpNfy/VH7+aknTfXGavp6UHRjcx8XnKPQNd/UtdJpYDgBZVbqWiid7glHM5VX00Xm/x6nW9twQeB0Pmsro52kZSOloaogRSOJY9/uAuFnNdfQMcADfgDe/FYyxK/D2SjrDUcCOI/kKvTmo5T2Z0eIWbrxTj+5f3BbuLY9S0cAfLK1jAAGgHM51hoGtFy7QfytrG+4BHAgEctCLjRUJsfh0TMXpIpgJGOfpmGhcWu3dxz64bp22XoCYardKKSTR5xqUZOMlho4Iul9S0SMjJs54cWj7WS2a3eMwNvHsXctZk+FcKgOyOy+9lOXxtp8Vg7S4g6CESNh3rGkb4A9ZsWu8e1tjnIGuXmLqHVWzNWGiXCsQduX9ZkckhewA8o3uDhl7ARp2qSjnqRbOzBukNraaKOohq3VMbAyRrYHOL3tGUuuNNSL+a7H1eKV3ViiGHQHjJL1p3NP2WaZT42/EtDOzaRtwHOf3t9gI/U0FZ+0WzWKVlVI3f7qlJbYGSwtlbm+jj1d1s2jiPFbcLPQhl/wAm7wKqo6Gmmgp5N6KSN0srhZwDtTZzx1c5LbBo4AclWuBNO5Dne88uee8uPFSLbimioKCHDab36l4dI4+85rSLvdb7Tg0AcLNI5LVRRhrWtHBoAHgNFqqvu+Z1+EU26jn4LHz/AMOjEqXeRObz4jucOH8eanvQTjxfTyUjz1oDdt+O7dcgeTg8eGVQxdewtaaXG47aNmu0+DxmH62gealay3iS41Q0jVXk/b3PRiIEVw88EREAREQBERAEREAREQBEXw8EB5y2kmMuPVDjwjdYeDWNH+ZxXeStfKb4tXH78v8AnAWeqFz+89XwdYtvNv2QRFiV2IsiHWOv2RxP8ea0pNvCOjOpGEeaTwjEx2Jzck8Zs+FzXDyIc0+TgD6q98JxJtVSw1DPdlYHeB4Oae8OBHkvPj3T1WjRkj79AfE8XeWikvR/tj/w576WqDtw52YOaCd048XAfWY7nbUHkblXVRmqep5O8uaNW4cqfx+5Z21GEOqIRunbueF4khfybI2+h+64EtPcVw2W2gFVG4ObuqiE5Z4T70T/AN2GxIdzWXQ45TTC8NRDIPuyNJHcW3uD4hRLb91NHKydlWylrmN6p1dvWfYmYwElhtoSNLc7LUlnus1N9Sequ8S6P54pXyYbVGna85jEXPawOPHKW3Fu4tNu22iYB0qQPsyrbuXjTOy74nd4t1m+hHepP/8AsqC1/bKf/utv6XuspTi9jGYyItT4BjhNnYhG0doAefTdD5qWCo9hojJVTumMYJfI4NaXuPBrGN0HIAKO430p0kQIgDqh/KwLI7973C5HgCqwx/aeatla6peRG03bHHo1vgCdXW0zG54+CmoSnvoRc1HYzKfE3VlZNUzEbxw6jeTG6gNb+EaeZPNbZR6uwwZWzU97AA2F7+I537QsvCMXElmP0fy7HeHYe5RuqEovPQ6/B7+k49k9Hn5/k2y0uLybuqpZhpke0/0Pa79yt0tBtb7jD+L5BaaD/UR0OKRzay+Hqj1FSuuxp+6F2rEwk/QRfgCy10TyAREQBERAEREAREQBERAF8K+ogPNOKNyYzVt7Xu/UGyLMkeGgkmwAuT2Bd3SnS7jGRJazZQ0379WO/Tl9Vh4hCXxSNHEtNvHkqVxHvo9Lwmo/+aSW6b9NPqaiqxp0hyQNNzztr5Dl4lZOH4G1vXlOd3HXVo8b+8fFdWykjcr22AcDe/MtPD0PzWRUvcXEE8D5LpUaMIRyjzN5e1q8++zNlrWjQa+HBanEWb4dbS3Ajkua+Le9dynHTVG3w3HKMNazEMNhnsAN/A1rJHAaAyNBaCbcXA69i1tFS00s9VJFFlg3lomOucrOV8xJuRY6nRdS7cFID5mcL5Xjw1B+NvVUrqLjTbR2OESjO6jGaXX0Z9q8Aid7hMZ9W+hN/isejjbA5rKihZU3NmOE0sRdxNiWGzvNoPet4tXUUpmqY46WPeVIOawIGjQSQ4ucGj1+apUak2+Xc7fELO3jDtMKPlp9MNZ+QxGrZPLudzDQRNAJjYGl8p7XTWBd3Dh4nUbCOkja0saxuUix53v2nmu2s2SxCAirfC2W7S0xwuLnxjje1ut+W/HsWvhxJzml24nIaSCRGSARxBPcpVYVHjCNdhXs6SllrOXq1rj0+WDXYNK5gc2/uvI8bLqx2NnUkj6r3O1A7eIcO+65Ye67XO+09zvC/JcmR56mNvJgzHy4fGy6MpYpZZ5ulT7S5UIdXgkDeGq0W0rczoWDi4kepaAt8tdh9P7Ri9LENQ17CfyXkPyAXKt1mZ67i0+W2a8Wl7+x6Qw5loox2NCyVxjbYAdgsuS6B5MIiIAiIgCIiAIiIAiIgCIiAqrp3wbPTR1LRrC6zrDXK6wPxynyKgWGVO8iY7nax8Rof5816ExvDm1EEkTxcPaRbxFl5sigdR1ctLL9qwJ5/Yd+YaeK0V4c0fI6fCrlUq2HtLT7f3+TGiG5rbcGvPwfw/V8lsa9tnnvAP8Av0WLtPD1WSDi11vXUfEfFZta7M1jx9YfOxHzVq0nzUyhxWh2Ny0tn/v4MRcZHWBJ5C65LqqRdjh90/JWGc9HY03AP2gCPArpke5j2yNGbLcEDmD/APVmzNtHCPuD5BdBUZxUlhk6VSVOanHdGRhDKiskLG/Qxt99/Fwv9UE/WPw+e7xnZ0U8TJ6QFk1K7eB2pdIB7+Y89L6dlxzWi2d2jdRgxyR5o3OLi5vv3PE3OjuHA2U8wzGIagfRPDtNWnRw8WnVa6VKmlhLU23V1XqTU5vK+hKdn8Rpqh1FXOqXRuqIDAymdK0ROkBzPtH9aUHq38FCNmJmsojI85W7yd5J4Bu8kN/Rc9h6qKjqqumnawsha+rpnPAJi6p3mQn3dAOH2XFRWtrD7LTUg+rEx834iA8R+pzHySno2Rq96KMAvD5JJcoZvXF2UaZRy07eZ7yV2YAzMZZftHKPAf7HosXEJcrD2nQea2tNlghY17g2w1ubXJ1Nu3VV7yWIqC6nW4JSUqzqy2ivwZU0ga0uPBoJPktx0IYUZquarcNGdUfidZzvQZB5qEY5ijXtDIze56x4DTgLnv1v3L0F0c4MymoImMc11xmLmm4cTqSD2G/pZarem4rLN/FrqNWahB5S9SUIiKwcgIiIAiIgCIiAIiIAiIgCIiAKsemDYw1EftMLbyxA3A4vbxLfHmO/xVnLi9gIIOoKA8sCu3tNIx3/AFGNvr9YNIN/HTVZdI7NSxns09Lj+FMelLo8cxz6ulbobmRg+Lm9/aOfjxhODOvSu7n/APqf3UreKi2l1JXteVaMXLdaZOSwKusylzdCCNLctLWPms8L6I4rWMLPJWGm9ilFpbmPPi0WSPU3a0A6HQ2HMrqhr8//AE2SSfgbm+V1dvRTglI/DKWf2aAzFrmvkMTDIXNc5hJeRf6qnrGACwAA7hZae0kb+yieX201U73aKqcD/cTW/wAiw6nBKoEOFFVRka3EM+neDk0Xq5FFyb3JKKWx5Gr6udxaJnSZmNLRnBDw12jmkkXIIJGvae1coq14sA25ceYcXOcfmVb/AEzNANI8/VqreTmE/wCkKrtpqm7WOZcOYTY878R8WhSinhyyYk1zKODplw6rfPFC6GRksh+jY9hjLu8by2mnHuU+h6LIoGtmxWubFmI6kZGZx+yJHi7z3NYpV0qAOhwyvZa8NVCb/wB1NbML+IYtxtJh0bZY6tstHBMQBvq0OlygAACAOlaIud8vG57Stb1eTYtFhbHQzo8wyak3cdNuwW9WUseyoB5PzSDOfB2ndZR3oXxB8MtXhsx61PI7L2WBLXBv3cwzD/EVg7P1Ej2kvqaap7DTxlgHj9M+/wAFV2Mk0u1cb2aCpDS7sOZroz+uFpQF0ogRDAREQBERAEREAREQBERAEREAREQGDjbL08oPNhXmLZx//Kv/ABN+Ib/C9T1MWZjm9osvPW0XRjVUznOgG8jBOUA2eByHYfh4KUZcryRnHmWDTotc2ucxxZK0tcONwQ4eLSsyOoa7g4fv6LepJlaUGty4ug6pzYdLH/YVUrfJ2WS/rIfRWGqh6DKy09fB2iKVv6mv/wBCt5V3uWlsERFgyVX01N/5eI/Zq4/i14/dVNiw+j/MP3Vx9MsV6GUgXLZoXDxLmt/1KocYwurjMMc8W6NQ60YJbdxBaNbOOXV7eNuKnGSSaIyi3JMne020DH7M08RkZvt1ThrS8bxxiewOIbe/BpKkT+kjDi1gfI2Q2AA9nkeQewdRcdh+i+FkDXVUbHzG5JtcdwGYchbsWZtB0XwyvZJTvdTPYNHQkMPqB/HFQJmwwHGYJSXwwGMgXzPpJIdOdnuYAfVQaGYYhtHE6I5oqSOxcLFrnDeXIPMZpP8AxlbKboonl6s1dUvYeIdKXAjwcCPgprsdsfBQMLYhdztS46k+aAkiIiGAiIgCIiAIiIAiIgCIiAIiIAiIgC+EXX1EBGtotiaWrH0kbb8iBYjwI1Hkq+xHoV1O6mIHY4B1vkfirmRAUNsTQOwvaCGme7MJonMzWsDnBc3S5+vFbjzV8Ko+m2mdDNR18YOaGVpNudiHtB7rst+ZWvSVLZI2SMN2yNa5p7WuAIPoUB2ovqICv+l0Ww+pP2TC7+mSM/so90xRkU1NUtF3U9Q13kQTa/4mMUr6WYM2GVf+AT/QQ4qrsa2pqsTpxTRUlmOLLvzOdcsIt1iGtbqNeKGS/cLqBJDG9uoc0EeHJZS1OylE6Gip4n+9HE1p8gB+y2yGAiIgCIiAIiIAiIgCIiAIiIAiIgCIiAIiIAiIgCIiAjfSFgntdBNEBd2W7fxDVvxAVRYJt/ieHxRwPp2viiaGtEkbw5rRwaJWHKQBpwK9ArGmw+N3vMafIICp6fpzbb6SjcD9yYH4OYFym6cYyOpSyX75GftdWU/Z2mPGJq+N2cphwiagKWxvpHqqyKSCOk0mY6Mk7yR2V4LTbKGhpsePJWN0SYK+nw9jZmBr8znW0JAc5zgL9uqlkWFQt4Rt9AswBAfUREAREQBERAEREAREQBERAEREAREQBERAEREAREQBERAEREAREQBERAEREAREQBERAEREAREQBERAEREAREQBERAEREAREQBERAEREAREQBERAEREAREQBERAEREAREQBERAf/9k="/>
          <p:cNvSpPr>
            <a:spLocks noChangeAspect="1" noChangeArrowheads="1"/>
          </p:cNvSpPr>
          <p:nvPr/>
        </p:nvSpPr>
        <p:spPr bwMode="auto">
          <a:xfrm>
            <a:off x="44132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sz="1200">
              <a:latin typeface="Cambria" pitchFamily="18" charset="0"/>
            </a:endParaRPr>
          </a:p>
        </p:txBody>
      </p:sp>
      <p:sp>
        <p:nvSpPr>
          <p:cNvPr id="37" name="AutoShape 4" descr="data:image/jpeg;base64,/9j/4AAQSkZJRgABAQAAAQABAAD/2wCEAAkGBxQTEBITExQVFBUTFBgZGRgVFRQYFhQXGB4XGBUVFxYYHCogGBolHBYWITEhJSkrLi4uGCAzODMsNygtLisBCgoKDg0OGxAQGiwkHyQwLSwyLi00LDQsNzAtLCwsLCw3LCwuLCwvLCwsLCwsLCwsLCwsLCwvNCwsLCwsLCwsNP/AABEIAOEA4QMBIgACEQEDEQH/xAAcAAEAAgIDAQAAAAAAAAAAAAAABgcEBQIDCAH/xABDEAABAwIDBAcECQEGBwEAAAABAAIDBBEFEiEGEzFBByJRYXGBkRQyobEjQlJicoKiwdGSU2NzssLwFSQzk6PS4Rb/xAAaAQEAAgMBAAAAAAAAAAAAAAAAAgQBAwUG/8QALxEAAgEDAgMGBQUBAAAAAAAAAAECAwQRITEFEkETIlFxscGBkaHR4SMyYfDxFP/aAAwDAQACEQMRAD8AvFERAEREAREQBERAEREAREQBERAEREAREQBERAEREAREQBERAEREAREQBERAEREAREQBERAEREARFhYpisVPG6SaRrGt4lxAA9UBmr4Sqh2h6aWAubRxGS315Ltb3HL7x88qiNNtFjOJSFsD5D27kNjjZ+KQ6jwLr+KGcHoreDtHqF9Dx2j1VHxdHGKPF5K/K48t/Uu+Oi4ybDYzDrDWby3IVEoJ/LIMvqVHnj4meVl6IqEi27xfD3NFZEXM/vWBt+5s0fUJ8irP2M28pq9tmHJKB1o36OHeOTm9487KRjBLEREMBERAEREAREQBERAEREAREQBERAEREAREQBEUb242oioaZ73uAeWkRt5vdbRoHpfsCA0u3XSEKaQUtKz2irfYBjbkNJ4F1teGthy1JA1UHxTDGtvU4zO6olAzCmjdljiHLMRw8rX+8tLsbjj2b58FNLV18xdnlIBZEHG/VtfidTfKOA4Bb7Y6hfUYpuq6Pdvhj9o3TyHGV1wGvcQbFrS69u23YsN4WSSRtMC2XkrmMfUxtpKLR0dHC3IZLatfO4WI7baHw5z+lhjhY2OFjWMaLBrAGtHgAuyaTktXjmOU9GwPqZRGHe6LFz3245WN1Kqym5M3qKS1NmZSuOc9pWk2d2ppq3P7O8uLLZmuaWuAPA2PEd4W6Wt5W5NY6HyVoc0tcA5rhYtcAWkdhB0IVY7abBGE+2YdmifF1jHHfS3F0Q5acWcCOHYbPWn2n2jjoYmyOY+V8j8kccYu57rFx8AAOOvgpQlJPQxJLGp1dGO3ja+LdyWbURgZgODxykZ3Hs5HxBM8Xlitx7d4j7XTwupXh2d0JcbZjfOPdaQ145EaEm3K3pjAcSbU00U7DdsjGuHgQCL9+qulVmeiIhgIiIAiIgCIiAIiIAiIgCIiAIiIAiIgPj3WBPYF55xJhxXGZ968tp6fNmI+rFEcpDfvPffXsPcFb23e2MNBCS/rSPBDIwes48/ADmeV+0gKkNjaglte7nI6C/m6Z5HqAhlEqmxgtYIaZop4G6NZHoT3ucNS48/3XVsIHOxpz9Tlo3ZiddXPYBc/74LAUh6LYLzV83PPFEO4NbmPxcFCo8RZKCzIsEuA1PAa+irrZXZv/iDnYliDd4ZzeGF3uMi1yXHMW4DhzNydLGXwBVFJpaFlrJhUGD08Di6GCKIkZSY42sJA1AOUahZyTU2eN7QS0ua5oI0LSQQDfu4rT7LYr7RTNL7CaMmOdvNkzOq8EcrkXHcQsYeMjK2Nwvltb8xz5i/H5BajanGfZIWzEAsE0TZCb9SN7g179OYuCtuDfzTANPtTs3FWwujkaM9ju5LdaN3Ig9naOBWD0IVrjQvgf71NM+Mjssb28i4jyWVjtcaatpHOP0NSHQOJOjJvfgPdm+kb5haXozq2Q4ritOXBpfUOka0nUhznF1h3Xb6hWKOVoaauHqWsiIt5pCIiAIiIAiIgCIiAIiIAiIgCIiALR7YbRx0NK+aTkLNaOL3H3WjvJ/c8lunusCTyXnfbvGnYniO7aTuICWi17GxtI/zIyjuF+ZWG0llk6dOVSShHdmpdLJWzSVtWbt1NuVm3IY37g+Jv3rnsrgNRWe0PjkbS0+a80rzZjbXc1o4XIzdoFjqeAWdi4Ap5GNFgGEWHIAcFLcGpIn7Mg5A/dxzy5eTpWb22YfWsbEA8wOxV4VHLMvgdS/to26hSj4Zb8X9l0ItjOy8tJTispqxlZAHAPLNQ25AB0c4EXIBIIIuPKS9FVeDNVxjhK2KdvmN28fpb6r5hmw243DY3SOhraZ8NWLjRzoy5kzRys64HG1x2lb7ZLYWCgkdKx8skjmFl3ltg0lpIDWgDi0am/BZnNOLRz4xaeSVIiKubiH7VVuLRT5qOKKaAtHVIGcO1zXu9ptwta6wNicKrjXz11XG2nEseUxst9I4Zcry0OdwDTqTfVT9FPn0xgjy65MPF8OZUQSwSe7KwtNuIvwcO8GxHgoZsTi8jDLhNU8sqIWubFJ/aR26pYTxc0WI7QO1pVgFqiu3WyvtkbZIju6qDrRPGhNtd2TyF9QeR7rgotbMNdUaKPo7qZXt9txCSaJrgcjS8FxHA3c6zPEAnsI4qE7WxyNxStlhcWvgma4Fp6w6o6wPO1tRzBKtPo52mdX0hkkbZ8b8jiPdecrXZgOWjhcdqrmSbeVuIScnVUjR3hhLQfQBSc5Ry30N1rbxr1FDo8+j9y2+jTbNtfT2dYTx2EjR8HN+6beWo5KZrzFQ178Oro6mO+Qmzmjm02zs+Th3gL0ph1a2aJkrCHNe0EEcCCLgqzGSksop1qMqU3CW6MlERSNQREQBERAEREAREQBERAEREBC+ljHzSYfJkNpJbRs11BdxI8G5nflVN7N0m7gz/AFpNfy/VH7+aknTfXGavp6UHRjcx8XnKPQNd/UtdJpYDgBZVbqWiid7glHM5VX00Xm/x6nW9twQeB0Pmsro52kZSOloaogRSOJY9/uAuFnNdfQMcADfgDe/FYyxK/D2SjrDUcCOI/kKvTmo5T2Z0eIWbrxTj+5f3BbuLY9S0cAfLK1jAAGgHM51hoGtFy7QfytrG+4BHAgEctCLjRUJsfh0TMXpIpgJGOfpmGhcWu3dxz64bp22XoCYardKKSTR5xqUZOMlho4Iul9S0SMjJs54cWj7WS2a3eMwNvHsXctZk+FcKgOyOy+9lOXxtp8Vg7S4g6CESNh3rGkb4A9ZsWu8e1tjnIGuXmLqHVWzNWGiXCsQduX9ZkckhewA8o3uDhl7ARp2qSjnqRbOzBukNraaKOohq3VMbAyRrYHOL3tGUuuNNSL+a7H1eKV3ViiGHQHjJL1p3NP2WaZT42/EtDOzaRtwHOf3t9gI/U0FZ+0WzWKVlVI3f7qlJbYGSwtlbm+jj1d1s2jiPFbcLPQhl/wAm7wKqo6Gmmgp5N6KSN0srhZwDtTZzx1c5LbBo4AclWuBNO5Dne88uee8uPFSLbimioKCHDab36l4dI4+85rSLvdb7Tg0AcLNI5LVRRhrWtHBoAHgNFqqvu+Z1+EU26jn4LHz/AMOjEqXeRObz4jucOH8eanvQTjxfTyUjz1oDdt+O7dcgeTg8eGVQxdewtaaXG47aNmu0+DxmH62gealay3iS41Q0jVXk/b3PRiIEVw88EREAREQBERAEREAREQBEXw8EB5y2kmMuPVDjwjdYeDWNH+ZxXeStfKb4tXH78v8AnAWeqFz+89XwdYtvNv2QRFiV2IsiHWOv2RxP8ea0pNvCOjOpGEeaTwjEx2Jzck8Zs+FzXDyIc0+TgD6q98JxJtVSw1DPdlYHeB4Oae8OBHkvPj3T1WjRkj79AfE8XeWikvR/tj/w576WqDtw52YOaCd048XAfWY7nbUHkblXVRmqep5O8uaNW4cqfx+5Z21GEOqIRunbueF4khfybI2+h+64EtPcVw2W2gFVG4ObuqiE5Z4T70T/AN2GxIdzWXQ45TTC8NRDIPuyNJHcW3uD4hRLb91NHKydlWylrmN6p1dvWfYmYwElhtoSNLc7LUlnus1N9Sequ8S6P54pXyYbVGna85jEXPawOPHKW3Fu4tNu22iYB0qQPsyrbuXjTOy74nd4t1m+hHepP/8AsqC1/bKf/utv6XuspTi9jGYyItT4BjhNnYhG0doAefTdD5qWCo9hojJVTumMYJfI4NaXuPBrGN0HIAKO430p0kQIgDqh/KwLI7973C5HgCqwx/aeatla6peRG03bHHo1vgCdXW0zG54+CmoSnvoRc1HYzKfE3VlZNUzEbxw6jeTG6gNb+EaeZPNbZR6uwwZWzU97AA2F7+I537QsvCMXElmP0fy7HeHYe5RuqEovPQ6/B7+k49k9Hn5/k2y0uLybuqpZhpke0/0Pa79yt0tBtb7jD+L5BaaD/UR0OKRzay+Hqj1FSuuxp+6F2rEwk/QRfgCy10TyAREQBERAEREAREQBERAF8K+ogPNOKNyYzVt7Xu/UGyLMkeGgkmwAuT2Bd3SnS7jGRJazZQ0379WO/Tl9Vh4hCXxSNHEtNvHkqVxHvo9Lwmo/+aSW6b9NPqaiqxp0hyQNNzztr5Dl4lZOH4G1vXlOd3HXVo8b+8fFdWykjcr22AcDe/MtPD0PzWRUvcXEE8D5LpUaMIRyjzN5e1q8++zNlrWjQa+HBanEWb4dbS3Ajkua+Le9dynHTVG3w3HKMNazEMNhnsAN/A1rJHAaAyNBaCbcXA69i1tFS00s9VJFFlg3lomOucrOV8xJuRY6nRdS7cFID5mcL5Xjw1B+NvVUrqLjTbR2OESjO6jGaXX0Z9q8Aid7hMZ9W+hN/isejjbA5rKihZU3NmOE0sRdxNiWGzvNoPet4tXUUpmqY46WPeVIOawIGjQSQ4ucGj1+apUak2+Xc7fELO3jDtMKPlp9MNZ+QxGrZPLudzDQRNAJjYGl8p7XTWBd3Dh4nUbCOkja0saxuUix53v2nmu2s2SxCAirfC2W7S0xwuLnxjje1ut+W/HsWvhxJzml24nIaSCRGSARxBPcpVYVHjCNdhXs6SllrOXq1rj0+WDXYNK5gc2/uvI8bLqx2NnUkj6r3O1A7eIcO+65Ye67XO+09zvC/JcmR56mNvJgzHy4fGy6MpYpZZ5ulT7S5UIdXgkDeGq0W0rczoWDi4kepaAt8tdh9P7Ri9LENQ17CfyXkPyAXKt1mZ67i0+W2a8Wl7+x6Qw5loox2NCyVxjbYAdgsuS6B5MIiIAiIgCIiAIiIAiIgCIiAqrp3wbPTR1LRrC6zrDXK6wPxynyKgWGVO8iY7nax8Rof5816ExvDm1EEkTxcPaRbxFl5sigdR1ctLL9qwJ5/Yd+YaeK0V4c0fI6fCrlUq2HtLT7f3+TGiG5rbcGvPwfw/V8lsa9tnnvAP8Av0WLtPD1WSDi11vXUfEfFZta7M1jx9YfOxHzVq0nzUyhxWh2Ny0tn/v4MRcZHWBJ5C65LqqRdjh90/JWGc9HY03AP2gCPArpke5j2yNGbLcEDmD/APVmzNtHCPuD5BdBUZxUlhk6VSVOanHdGRhDKiskLG/Qxt99/Fwv9UE/WPw+e7xnZ0U8TJ6QFk1K7eB2pdIB7+Y89L6dlxzWi2d2jdRgxyR5o3OLi5vv3PE3OjuHA2U8wzGIagfRPDtNWnRw8WnVa6VKmlhLU23V1XqTU5vK+hKdn8Rpqh1FXOqXRuqIDAymdK0ROkBzPtH9aUHq38FCNmJmsojI85W7yd5J4Bu8kN/Rc9h6qKjqqumnawsha+rpnPAJi6p3mQn3dAOH2XFRWtrD7LTUg+rEx834iA8R+pzHySno2Rq96KMAvD5JJcoZvXF2UaZRy07eZ7yV2YAzMZZftHKPAf7HosXEJcrD2nQea2tNlghY17g2w1ubXJ1Nu3VV7yWIqC6nW4JSUqzqy2ivwZU0ga0uPBoJPktx0IYUZquarcNGdUfidZzvQZB5qEY5ijXtDIze56x4DTgLnv1v3L0F0c4MymoImMc11xmLmm4cTqSD2G/pZarem4rLN/FrqNWahB5S9SUIiKwcgIiIAiIgCIiAIiIAiIgCIiAKsemDYw1EftMLbyxA3A4vbxLfHmO/xVnLi9gIIOoKA8sCu3tNIx3/AFGNvr9YNIN/HTVZdI7NSxns09Lj+FMelLo8cxz6ulbobmRg+Lm9/aOfjxhODOvSu7n/APqf3UreKi2l1JXteVaMXLdaZOSwKusylzdCCNLctLWPms8L6I4rWMLPJWGm9ilFpbmPPi0WSPU3a0A6HQ2HMrqhr8//AE2SSfgbm+V1dvRTglI/DKWf2aAzFrmvkMTDIXNc5hJeRf6qnrGACwAA7hZae0kb+yieX201U73aKqcD/cTW/wAiw6nBKoEOFFVRka3EM+neDk0Xq5FFyb3JKKWx5Gr6udxaJnSZmNLRnBDw12jmkkXIIJGvae1coq14sA25ceYcXOcfmVb/AEzNANI8/VqreTmE/wCkKrtpqm7WOZcOYTY878R8WhSinhyyYk1zKODplw6rfPFC6GRksh+jY9hjLu8by2mnHuU+h6LIoGtmxWubFmI6kZGZx+yJHi7z3NYpV0qAOhwyvZa8NVCb/wB1NbML+IYtxtJh0bZY6tstHBMQBvq0OlygAACAOlaIud8vG57Stb1eTYtFhbHQzo8wyak3cdNuwW9WUseyoB5PzSDOfB2ndZR3oXxB8MtXhsx61PI7L2WBLXBv3cwzD/EVg7P1Ej2kvqaap7DTxlgHj9M+/wAFV2Mk0u1cb2aCpDS7sOZroz+uFpQF0ogRDAREQBERAEREAREQBERAEREAREQGDjbL08oPNhXmLZx//Kv/ABN+Ib/C9T1MWZjm9osvPW0XRjVUznOgG8jBOUA2eByHYfh4KUZcryRnHmWDTotc2ucxxZK0tcONwQ4eLSsyOoa7g4fv6LepJlaUGty4ug6pzYdLH/YVUrfJ2WS/rIfRWGqh6DKy09fB2iKVv6mv/wBCt5V3uWlsERFgyVX01N/5eI/Zq4/i14/dVNiw+j/MP3Vx9MsV6GUgXLZoXDxLmt/1KocYwurjMMc8W6NQ60YJbdxBaNbOOXV7eNuKnGSSaIyi3JMne020DH7M08RkZvt1ThrS8bxxiewOIbe/BpKkT+kjDi1gfI2Q2AA9nkeQewdRcdh+i+FkDXVUbHzG5JtcdwGYchbsWZtB0XwyvZJTvdTPYNHQkMPqB/HFQJmwwHGYJSXwwGMgXzPpJIdOdnuYAfVQaGYYhtHE6I5oqSOxcLFrnDeXIPMZpP8AxlbKboonl6s1dUvYeIdKXAjwcCPgprsdsfBQMLYhdztS46k+aAkiIiGAiIgCIiAIiIAiIgCIiAIiIAiIgC+EXX1EBGtotiaWrH0kbb8iBYjwI1Hkq+xHoV1O6mIHY4B1vkfirmRAUNsTQOwvaCGme7MJonMzWsDnBc3S5+vFbjzV8Ko+m2mdDNR18YOaGVpNudiHtB7rst+ZWvSVLZI2SMN2yNa5p7WuAIPoUB2ovqICv+l0Ww+pP2TC7+mSM/so90xRkU1NUtF3U9Q13kQTa/4mMUr6WYM2GVf+AT/QQ4qrsa2pqsTpxTRUlmOLLvzOdcsIt1iGtbqNeKGS/cLqBJDG9uoc0EeHJZS1OylE6Gip4n+9HE1p8gB+y2yGAiIgCIiAIiIAiIgCIiAIiIAiIgCIiAIiIAiIgCIiAjfSFgntdBNEBd2W7fxDVvxAVRYJt/ieHxRwPp2viiaGtEkbw5rRwaJWHKQBpwK9ArGmw+N3vMafIICp6fpzbb6SjcD9yYH4OYFym6cYyOpSyX75GftdWU/Z2mPGJq+N2cphwiagKWxvpHqqyKSCOk0mY6Mk7yR2V4LTbKGhpsePJWN0SYK+nw9jZmBr8znW0JAc5zgL9uqlkWFQt4Rt9AswBAfUREAREQBERAEREAREQBERAEREAREQBERAEREAREQBERAEREAREQBERAEREAREQBERAEREAREQBERAEREAREQBERAEREAREQBERAEREAREQBERAEREAREQBERAEREAREQBERAf/9k="/>
          <p:cNvSpPr>
            <a:spLocks noChangeAspect="1" noChangeArrowheads="1"/>
          </p:cNvSpPr>
          <p:nvPr/>
        </p:nvSpPr>
        <p:spPr bwMode="auto">
          <a:xfrm>
            <a:off x="44132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sz="1200">
              <a:latin typeface="Cambria" pitchFamily="18" charset="0"/>
            </a:endParaRPr>
          </a:p>
        </p:txBody>
      </p:sp>
      <p:sp>
        <p:nvSpPr>
          <p:cNvPr id="38" name="AutoShape 6" descr="data:image/jpeg;base64,/9j/4AAQSkZJRgABAQAAAQABAAD/2wCEAAkGBxQTEBITExQVFBUTFBgZGRgVFRQYFhQXGB4XGBUVFxYYHCogGBolHBYWITEhJSkrLi4uGCAzODMsNygtLisBCgoKDg0OGxAQGiwkHyQwLSwyLi00LDQsNzAtLCwsLCw3LCwuLCwvLCwsLCwsLCwsLCwsLCwvNCwsLCwsLCwsNP/AABEIAOEA4QMBIgACEQEDEQH/xAAcAAEAAgIDAQAAAAAAAAAAAAAABgcEBQIDCAH/xABDEAABAwIDBAcECQEGBwEAAAABAAIDBBEFEiEGEzFBByJRYXGBkRQyobEjQlJicoKiwdGSU2NzssLwFSQzk6PS4Rb/xAAaAQEAAgMBAAAAAAAAAAAAAAAAAgQBAwUG/8QALxEAAgEDAgMGBQUBAAAAAAAAAAECAwQRITEFEkETIlFxscGBkaHR4SMyYfDxFP/aAAwDAQACEQMRAD8AvFERAEREAREQBERAEREAREQBERAEREAREQBERAEREAREQBERAEREAREQBERAEREAREQBERAEREARFhYpisVPG6SaRrGt4lxAA9UBmr4Sqh2h6aWAubRxGS315Ltb3HL7x88qiNNtFjOJSFsD5D27kNjjZ+KQ6jwLr+KGcHoreDtHqF9Dx2j1VHxdHGKPF5K/K48t/Uu+Oi4ybDYzDrDWby3IVEoJ/LIMvqVHnj4meVl6IqEi27xfD3NFZEXM/vWBt+5s0fUJ8irP2M28pq9tmHJKB1o36OHeOTm9487KRjBLEREMBERAEREAREQBERAEREAREQBERAEREAREQBEUb242oioaZ73uAeWkRt5vdbRoHpfsCA0u3XSEKaQUtKz2irfYBjbkNJ4F1teGthy1JA1UHxTDGtvU4zO6olAzCmjdljiHLMRw8rX+8tLsbjj2b58FNLV18xdnlIBZEHG/VtfidTfKOA4Bb7Y6hfUYpuq6Pdvhj9o3TyHGV1wGvcQbFrS69u23YsN4WSSRtMC2XkrmMfUxtpKLR0dHC3IZLatfO4WI7baHw5z+lhjhY2OFjWMaLBrAGtHgAuyaTktXjmOU9GwPqZRGHe6LFz3245WN1Kqym5M3qKS1NmZSuOc9pWk2d2ppq3P7O8uLLZmuaWuAPA2PEd4W6Wt5W5NY6HyVoc0tcA5rhYtcAWkdhB0IVY7abBGE+2YdmifF1jHHfS3F0Q5acWcCOHYbPWn2n2jjoYmyOY+V8j8kccYu57rFx8AAOOvgpQlJPQxJLGp1dGO3ja+LdyWbURgZgODxykZ3Hs5HxBM8Xlitx7d4j7XTwupXh2d0JcbZjfOPdaQ145EaEm3K3pjAcSbU00U7DdsjGuHgQCL9+qulVmeiIhgIiIAiIgCIiAIiIAiIgCIiAIiIAiIgPj3WBPYF55xJhxXGZ968tp6fNmI+rFEcpDfvPffXsPcFb23e2MNBCS/rSPBDIwes48/ADmeV+0gKkNjaglte7nI6C/m6Z5HqAhlEqmxgtYIaZop4G6NZHoT3ucNS48/3XVsIHOxpz9Tlo3ZiddXPYBc/74LAUh6LYLzV83PPFEO4NbmPxcFCo8RZKCzIsEuA1PAa+irrZXZv/iDnYliDd4ZzeGF3uMi1yXHMW4DhzNydLGXwBVFJpaFlrJhUGD08Di6GCKIkZSY42sJA1AOUahZyTU2eN7QS0ua5oI0LSQQDfu4rT7LYr7RTNL7CaMmOdvNkzOq8EcrkXHcQsYeMjK2Nwvltb8xz5i/H5BajanGfZIWzEAsE0TZCb9SN7g179OYuCtuDfzTANPtTs3FWwujkaM9ju5LdaN3Ig9naOBWD0IVrjQvgf71NM+Mjssb28i4jyWVjtcaatpHOP0NSHQOJOjJvfgPdm+kb5haXozq2Q4ritOXBpfUOka0nUhznF1h3Xb6hWKOVoaauHqWsiIt5pCIiAIiIAiIgCIiAIiIAiIgCIiALR7YbRx0NK+aTkLNaOL3H3WjvJ/c8lunusCTyXnfbvGnYniO7aTuICWi17GxtI/zIyjuF+ZWG0llk6dOVSShHdmpdLJWzSVtWbt1NuVm3IY37g+Jv3rnsrgNRWe0PjkbS0+a80rzZjbXc1o4XIzdoFjqeAWdi4Ap5GNFgGEWHIAcFLcGpIn7Mg5A/dxzy5eTpWb22YfWsbEA8wOxV4VHLMvgdS/to26hSj4Zb8X9l0ItjOy8tJTispqxlZAHAPLNQ25AB0c4EXIBIIIuPKS9FVeDNVxjhK2KdvmN28fpb6r5hmw243DY3SOhraZ8NWLjRzoy5kzRys64HG1x2lb7ZLYWCgkdKx8skjmFl3ltg0lpIDWgDi0am/BZnNOLRz4xaeSVIiKubiH7VVuLRT5qOKKaAtHVIGcO1zXu9ptwta6wNicKrjXz11XG2nEseUxst9I4Zcry0OdwDTqTfVT9FPn0xgjy65MPF8OZUQSwSe7KwtNuIvwcO8GxHgoZsTi8jDLhNU8sqIWubFJ/aR26pYTxc0WI7QO1pVgFqiu3WyvtkbZIju6qDrRPGhNtd2TyF9QeR7rgotbMNdUaKPo7qZXt9txCSaJrgcjS8FxHA3c6zPEAnsI4qE7WxyNxStlhcWvgma4Fp6w6o6wPO1tRzBKtPo52mdX0hkkbZ8b8jiPdecrXZgOWjhcdqrmSbeVuIScnVUjR3hhLQfQBSc5Ry30N1rbxr1FDo8+j9y2+jTbNtfT2dYTx2EjR8HN+6beWo5KZrzFQ178Oro6mO+Qmzmjm02zs+Th3gL0ph1a2aJkrCHNe0EEcCCLgqzGSksop1qMqU3CW6MlERSNQREQBERAEREAREQBERAEREBC+ljHzSYfJkNpJbRs11BdxI8G5nflVN7N0m7gz/AFpNfy/VH7+aknTfXGavp6UHRjcx8XnKPQNd/UtdJpYDgBZVbqWiid7glHM5VX00Xm/x6nW9twQeB0Pmsro52kZSOloaogRSOJY9/uAuFnNdfQMcADfgDe/FYyxK/D2SjrDUcCOI/kKvTmo5T2Z0eIWbrxTj+5f3BbuLY9S0cAfLK1jAAGgHM51hoGtFy7QfytrG+4BHAgEctCLjRUJsfh0TMXpIpgJGOfpmGhcWu3dxz64bp22XoCYardKKSTR5xqUZOMlho4Iul9S0SMjJs54cWj7WS2a3eMwNvHsXctZk+FcKgOyOy+9lOXxtp8Vg7S4g6CESNh3rGkb4A9ZsWu8e1tjnIGuXmLqHVWzNWGiXCsQduX9ZkckhewA8o3uDhl7ARp2qSjnqRbOzBukNraaKOohq3VMbAyRrYHOL3tGUuuNNSL+a7H1eKV3ViiGHQHjJL1p3NP2WaZT42/EtDOzaRtwHOf3t9gI/U0FZ+0WzWKVlVI3f7qlJbYGSwtlbm+jj1d1s2jiPFbcLPQhl/wAm7wKqo6Gmmgp5N6KSN0srhZwDtTZzx1c5LbBo4AclWuBNO5Dne88uee8uPFSLbimioKCHDab36l4dI4+85rSLvdb7Tg0AcLNI5LVRRhrWtHBoAHgNFqqvu+Z1+EU26jn4LHz/AMOjEqXeRObz4jucOH8eanvQTjxfTyUjz1oDdt+O7dcgeTg8eGVQxdewtaaXG47aNmu0+DxmH62gealay3iS41Q0jVXk/b3PRiIEVw88EREAREQBERAEREAREQBEXw8EB5y2kmMuPVDjwjdYeDWNH+ZxXeStfKb4tXH78v8AnAWeqFz+89XwdYtvNv2QRFiV2IsiHWOv2RxP8ea0pNvCOjOpGEeaTwjEx2Jzck8Zs+FzXDyIc0+TgD6q98JxJtVSw1DPdlYHeB4Oae8OBHkvPj3T1WjRkj79AfE8XeWikvR/tj/w576WqDtw52YOaCd048XAfWY7nbUHkblXVRmqep5O8uaNW4cqfx+5Z21GEOqIRunbueF4khfybI2+h+64EtPcVw2W2gFVG4ObuqiE5Z4T70T/AN2GxIdzWXQ45TTC8NRDIPuyNJHcW3uD4hRLb91NHKydlWylrmN6p1dvWfYmYwElhtoSNLc7LUlnus1N9Sequ8S6P54pXyYbVGna85jEXPawOPHKW3Fu4tNu22iYB0qQPsyrbuXjTOy74nd4t1m+hHepP/8AsqC1/bKf/utv6XuspTi9jGYyItT4BjhNnYhG0doAefTdD5qWCo9hojJVTumMYJfI4NaXuPBrGN0HIAKO430p0kQIgDqh/KwLI7973C5HgCqwx/aeatla6peRG03bHHo1vgCdXW0zG54+CmoSnvoRc1HYzKfE3VlZNUzEbxw6jeTG6gNb+EaeZPNbZR6uwwZWzU97AA2F7+I537QsvCMXElmP0fy7HeHYe5RuqEovPQ6/B7+k49k9Hn5/k2y0uLybuqpZhpke0/0Pa79yt0tBtb7jD+L5BaaD/UR0OKRzay+Hqj1FSuuxp+6F2rEwk/QRfgCy10TyAREQBERAEREAREQBERAF8K+ogPNOKNyYzVt7Xu/UGyLMkeGgkmwAuT2Bd3SnS7jGRJazZQ0379WO/Tl9Vh4hCXxSNHEtNvHkqVxHvo9Lwmo/+aSW6b9NPqaiqxp0hyQNNzztr5Dl4lZOH4G1vXlOd3HXVo8b+8fFdWykjcr22AcDe/MtPD0PzWRUvcXEE8D5LpUaMIRyjzN5e1q8++zNlrWjQa+HBanEWb4dbS3Ajkua+Le9dynHTVG3w3HKMNazEMNhnsAN/A1rJHAaAyNBaCbcXA69i1tFS00s9VJFFlg3lomOucrOV8xJuRY6nRdS7cFID5mcL5Xjw1B+NvVUrqLjTbR2OESjO6jGaXX0Z9q8Aid7hMZ9W+hN/isejjbA5rKihZU3NmOE0sRdxNiWGzvNoPet4tXUUpmqY46WPeVIOawIGjQSQ4ucGj1+apUak2+Xc7fELO3jDtMKPlp9MNZ+QxGrZPLudzDQRNAJjYGl8p7XTWBd3Dh4nUbCOkja0saxuUix53v2nmu2s2SxCAirfC2W7S0xwuLnxjje1ut+W/HsWvhxJzml24nIaSCRGSARxBPcpVYVHjCNdhXs6SllrOXq1rj0+WDXYNK5gc2/uvI8bLqx2NnUkj6r3O1A7eIcO+65Ye67XO+09zvC/JcmR56mNvJgzHy4fGy6MpYpZZ5ulT7S5UIdXgkDeGq0W0rczoWDi4kepaAt8tdh9P7Ri9LENQ17CfyXkPyAXKt1mZ67i0+W2a8Wl7+x6Qw5loox2NCyVxjbYAdgsuS6B5MIiIAiIgCIiAIiIAiIgCIiAqrp3wbPTR1LRrC6zrDXK6wPxynyKgWGVO8iY7nax8Rof5816ExvDm1EEkTxcPaRbxFl5sigdR1ctLL9qwJ5/Yd+YaeK0V4c0fI6fCrlUq2HtLT7f3+TGiG5rbcGvPwfw/V8lsa9tnnvAP8Av0WLtPD1WSDi11vXUfEfFZta7M1jx9YfOxHzVq0nzUyhxWh2Ny0tn/v4MRcZHWBJ5C65LqqRdjh90/JWGc9HY03AP2gCPArpke5j2yNGbLcEDmD/APVmzNtHCPuD5BdBUZxUlhk6VSVOanHdGRhDKiskLG/Qxt99/Fwv9UE/WPw+e7xnZ0U8TJ6QFk1K7eB2pdIB7+Y89L6dlxzWi2d2jdRgxyR5o3OLi5vv3PE3OjuHA2U8wzGIagfRPDtNWnRw8WnVa6VKmlhLU23V1XqTU5vK+hKdn8Rpqh1FXOqXRuqIDAymdK0ROkBzPtH9aUHq38FCNmJmsojI85W7yd5J4Bu8kN/Rc9h6qKjqqumnawsha+rpnPAJi6p3mQn3dAOH2XFRWtrD7LTUg+rEx834iA8R+pzHySno2Rq96KMAvD5JJcoZvXF2UaZRy07eZ7yV2YAzMZZftHKPAf7HosXEJcrD2nQea2tNlghY17g2w1ubXJ1Nu3VV7yWIqC6nW4JSUqzqy2ivwZU0ga0uPBoJPktx0IYUZquarcNGdUfidZzvQZB5qEY5ijXtDIze56x4DTgLnv1v3L0F0c4MymoImMc11xmLmm4cTqSD2G/pZarem4rLN/FrqNWahB5S9SUIiKwcgIiIAiIgCIiAIiIAiIgCIiAKsemDYw1EftMLbyxA3A4vbxLfHmO/xVnLi9gIIOoKA8sCu3tNIx3/AFGNvr9YNIN/HTVZdI7NSxns09Lj+FMelLo8cxz6ulbobmRg+Lm9/aOfjxhODOvSu7n/APqf3UreKi2l1JXteVaMXLdaZOSwKusylzdCCNLctLWPms8L6I4rWMLPJWGm9ilFpbmPPi0WSPU3a0A6HQ2HMrqhr8//AE2SSfgbm+V1dvRTglI/DKWf2aAzFrmvkMTDIXNc5hJeRf6qnrGACwAA7hZae0kb+yieX201U73aKqcD/cTW/wAiw6nBKoEOFFVRka3EM+neDk0Xq5FFyb3JKKWx5Gr6udxaJnSZmNLRnBDw12jmkkXIIJGvae1coq14sA25ceYcXOcfmVb/AEzNANI8/VqreTmE/wCkKrtpqm7WOZcOYTY878R8WhSinhyyYk1zKODplw6rfPFC6GRksh+jY9hjLu8by2mnHuU+h6LIoGtmxWubFmI6kZGZx+yJHi7z3NYpV0qAOhwyvZa8NVCb/wB1NbML+IYtxtJh0bZY6tstHBMQBvq0OlygAACAOlaIud8vG57Stb1eTYtFhbHQzo8wyak3cdNuwW9WUseyoB5PzSDOfB2ndZR3oXxB8MtXhsx61PI7L2WBLXBv3cwzD/EVg7P1Ej2kvqaap7DTxlgHj9M+/wAFV2Mk0u1cb2aCpDS7sOZroz+uFpQF0ogRDAREQBERAEREAREQBERAEREAREQGDjbL08oPNhXmLZx//Kv/ABN+Ib/C9T1MWZjm9osvPW0XRjVUznOgG8jBOUA2eByHYfh4KUZcryRnHmWDTotc2ucxxZK0tcONwQ4eLSsyOoa7g4fv6LepJlaUGty4ug6pzYdLH/YVUrfJ2WS/rIfRWGqh6DKy09fB2iKVv6mv/wBCt5V3uWlsERFgyVX01N/5eI/Zq4/i14/dVNiw+j/MP3Vx9MsV6GUgXLZoXDxLmt/1KocYwurjMMc8W6NQ60YJbdxBaNbOOXV7eNuKnGSSaIyi3JMne020DH7M08RkZvt1ThrS8bxxiewOIbe/BpKkT+kjDi1gfI2Q2AA9nkeQewdRcdh+i+FkDXVUbHzG5JtcdwGYchbsWZtB0XwyvZJTvdTPYNHQkMPqB/HFQJmwwHGYJSXwwGMgXzPpJIdOdnuYAfVQaGYYhtHE6I5oqSOxcLFrnDeXIPMZpP8AxlbKboonl6s1dUvYeIdKXAjwcCPgprsdsfBQMLYhdztS46k+aAkiIiGAiIgCIiAIiIAiIgCIiAIiIAiIgC+EXX1EBGtotiaWrH0kbb8iBYjwI1Hkq+xHoV1O6mIHY4B1vkfirmRAUNsTQOwvaCGme7MJonMzWsDnBc3S5+vFbjzV8Ko+m2mdDNR18YOaGVpNudiHtB7rst+ZWvSVLZI2SMN2yNa5p7WuAIPoUB2ovqICv+l0Ww+pP2TC7+mSM/so90xRkU1NUtF3U9Q13kQTa/4mMUr6WYM2GVf+AT/QQ4qrsa2pqsTpxTRUlmOLLvzOdcsIt1iGtbqNeKGS/cLqBJDG9uoc0EeHJZS1OylE6Gip4n+9HE1p8gB+y2yGAiIgCIiAIiIAiIgCIiAIiIAiIgCIiAIiIAiIgCIiAjfSFgntdBNEBd2W7fxDVvxAVRYJt/ieHxRwPp2viiaGtEkbw5rRwaJWHKQBpwK9ArGmw+N3vMafIICp6fpzbb6SjcD9yYH4OYFym6cYyOpSyX75GftdWU/Z2mPGJq+N2cphwiagKWxvpHqqyKSCOk0mY6Mk7yR2V4LTbKGhpsePJWN0SYK+nw9jZmBr8znW0JAc5zgL9uqlkWFQt4Rt9AswBAfUREAREQBERAEREAREQBERAEREAREQBERAEREAREQBERAEREAREQBERAEREAREQBERAEREAREQBERAEREAREQBERAEREAREQBERAEREAREQBERAEREAREQBERAEREAREQBERAf/9k="/>
          <p:cNvSpPr>
            <a:spLocks noChangeAspect="1" noChangeArrowheads="1"/>
          </p:cNvSpPr>
          <p:nvPr/>
        </p:nvSpPr>
        <p:spPr bwMode="auto">
          <a:xfrm>
            <a:off x="44132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sz="1200">
              <a:latin typeface="Cambria" pitchFamily="18" charset="0"/>
            </a:endParaRPr>
          </a:p>
        </p:txBody>
      </p:sp>
      <p:sp>
        <p:nvSpPr>
          <p:cNvPr id="39" name="AutoShape 8" descr="data:image/jpeg;base64,/9j/4AAQSkZJRgABAQAAAQABAAD/2wCEAAkGBxQTEBITExQVFBUTFBgZGRgVFRQYFhQXGB4XGBUVFxYYHCogGBolHBYWITEhJSkrLi4uGCAzODMsNygtLisBCgoKDg0OGxAQGiwkHyQwLSwyLi00LDQsNzAtLCwsLCw3LCwuLCwvLCwsLCwsLCwsLCwsLCwvNCwsLCwsLCwsNP/AABEIAOEA4QMBIgACEQEDEQH/xAAcAAEAAgIDAQAAAAAAAAAAAAAABgcEBQIDCAH/xABDEAABAwIDBAcECQEGBwEAAAABAAIDBBEFEiEGEzFBByJRYXGBkRQyobEjQlJicoKiwdGSU2NzssLwFSQzk6PS4Rb/xAAaAQEAAgMBAAAAAAAAAAAAAAAAAgQBAwUG/8QALxEAAgEDAgMGBQUBAAAAAAAAAAECAwQRITEFEkETIlFxscGBkaHR4SMyYfDxFP/aAAwDAQACEQMRAD8AvFERAEREAREQBERAEREAREQBERAEREAREQBERAEREAREQBERAEREAREQBERAEREAREQBERAEREARFhYpisVPG6SaRrGt4lxAA9UBmr4Sqh2h6aWAubRxGS315Ltb3HL7x88qiNNtFjOJSFsD5D27kNjjZ+KQ6jwLr+KGcHoreDtHqF9Dx2j1VHxdHGKPF5K/K48t/Uu+Oi4ybDYzDrDWby3IVEoJ/LIMvqVHnj4meVl6IqEi27xfD3NFZEXM/vWBt+5s0fUJ8irP2M28pq9tmHJKB1o36OHeOTm9487KRjBLEREMBERAEREAREQBERAEREAREQBERAEREAREQBEUb242oioaZ73uAeWkRt5vdbRoHpfsCA0u3XSEKaQUtKz2irfYBjbkNJ4F1teGthy1JA1UHxTDGtvU4zO6olAzCmjdljiHLMRw8rX+8tLsbjj2b58FNLV18xdnlIBZEHG/VtfidTfKOA4Bb7Y6hfUYpuq6Pdvhj9o3TyHGV1wGvcQbFrS69u23YsN4WSSRtMC2XkrmMfUxtpKLR0dHC3IZLatfO4WI7baHw5z+lhjhY2OFjWMaLBrAGtHgAuyaTktXjmOU9GwPqZRGHe6LFz3245WN1Kqym5M3qKS1NmZSuOc9pWk2d2ppq3P7O8uLLZmuaWuAPA2PEd4W6Wt5W5NY6HyVoc0tcA5rhYtcAWkdhB0IVY7abBGE+2YdmifF1jHHfS3F0Q5acWcCOHYbPWn2n2jjoYmyOY+V8j8kccYu57rFx8AAOOvgpQlJPQxJLGp1dGO3ja+LdyWbURgZgODxykZ3Hs5HxBM8Xlitx7d4j7XTwupXh2d0JcbZjfOPdaQ145EaEm3K3pjAcSbU00U7DdsjGuHgQCL9+qulVmeiIhgIiIAiIgCIiAIiIAiIgCIiAIiIAiIgPj3WBPYF55xJhxXGZ968tp6fNmI+rFEcpDfvPffXsPcFb23e2MNBCS/rSPBDIwes48/ADmeV+0gKkNjaglte7nI6C/m6Z5HqAhlEqmxgtYIaZop4G6NZHoT3ucNS48/3XVsIHOxpz9Tlo3ZiddXPYBc/74LAUh6LYLzV83PPFEO4NbmPxcFCo8RZKCzIsEuA1PAa+irrZXZv/iDnYliDd4ZzeGF3uMi1yXHMW4DhzNydLGXwBVFJpaFlrJhUGD08Di6GCKIkZSY42sJA1AOUahZyTU2eN7QS0ua5oI0LSQQDfu4rT7LYr7RTNL7CaMmOdvNkzOq8EcrkXHcQsYeMjK2Nwvltb8xz5i/H5BajanGfZIWzEAsE0TZCb9SN7g179OYuCtuDfzTANPtTs3FWwujkaM9ju5LdaN3Ig9naOBWD0IVrjQvgf71NM+Mjssb28i4jyWVjtcaatpHOP0NSHQOJOjJvfgPdm+kb5haXozq2Q4ritOXBpfUOka0nUhznF1h3Xb6hWKOVoaauHqWsiIt5pCIiAIiIAiIgCIiAIiIAiIgCIiALR7YbRx0NK+aTkLNaOL3H3WjvJ/c8lunusCTyXnfbvGnYniO7aTuICWi17GxtI/zIyjuF+ZWG0llk6dOVSShHdmpdLJWzSVtWbt1NuVm3IY37g+Jv3rnsrgNRWe0PjkbS0+a80rzZjbXc1o4XIzdoFjqeAWdi4Ap5GNFgGEWHIAcFLcGpIn7Mg5A/dxzy5eTpWb22YfWsbEA8wOxV4VHLMvgdS/to26hSj4Zb8X9l0ItjOy8tJTispqxlZAHAPLNQ25AB0c4EXIBIIIuPKS9FVeDNVxjhK2KdvmN28fpb6r5hmw243DY3SOhraZ8NWLjRzoy5kzRys64HG1x2lb7ZLYWCgkdKx8skjmFl3ltg0lpIDWgDi0am/BZnNOLRz4xaeSVIiKubiH7VVuLRT5qOKKaAtHVIGcO1zXu9ptwta6wNicKrjXz11XG2nEseUxst9I4Zcry0OdwDTqTfVT9FPn0xgjy65MPF8OZUQSwSe7KwtNuIvwcO8GxHgoZsTi8jDLhNU8sqIWubFJ/aR26pYTxc0WI7QO1pVgFqiu3WyvtkbZIju6qDrRPGhNtd2TyF9QeR7rgotbMNdUaKPo7qZXt9txCSaJrgcjS8FxHA3c6zPEAnsI4qE7WxyNxStlhcWvgma4Fp6w6o6wPO1tRzBKtPo52mdX0hkkbZ8b8jiPdecrXZgOWjhcdqrmSbeVuIScnVUjR3hhLQfQBSc5Ry30N1rbxr1FDo8+j9y2+jTbNtfT2dYTx2EjR8HN+6beWo5KZrzFQ178Oro6mO+Qmzmjm02zs+Th3gL0ph1a2aJkrCHNe0EEcCCLgqzGSksop1qMqU3CW6MlERSNQREQBERAEREAREQBERAEREBC+ljHzSYfJkNpJbRs11BdxI8G5nflVN7N0m7gz/AFpNfy/VH7+aknTfXGavp6UHRjcx8XnKPQNd/UtdJpYDgBZVbqWiid7glHM5VX00Xm/x6nW9twQeB0Pmsro52kZSOloaogRSOJY9/uAuFnNdfQMcADfgDe/FYyxK/D2SjrDUcCOI/kKvTmo5T2Z0eIWbrxTj+5f3BbuLY9S0cAfLK1jAAGgHM51hoGtFy7QfytrG+4BHAgEctCLjRUJsfh0TMXpIpgJGOfpmGhcWu3dxz64bp22XoCYardKKSTR5xqUZOMlho4Iul9S0SMjJs54cWj7WS2a3eMwNvHsXctZk+FcKgOyOy+9lOXxtp8Vg7S4g6CESNh3rGkb4A9ZsWu8e1tjnIGuXmLqHVWzNWGiXCsQduX9ZkckhewA8o3uDhl7ARp2qSjnqRbOzBukNraaKOohq3VMbAyRrYHOL3tGUuuNNSL+a7H1eKV3ViiGHQHjJL1p3NP2WaZT42/EtDOzaRtwHOf3t9gI/U0FZ+0WzWKVlVI3f7qlJbYGSwtlbm+jj1d1s2jiPFbcLPQhl/wAm7wKqo6Gmmgp5N6KSN0srhZwDtTZzx1c5LbBo4AclWuBNO5Dne88uee8uPFSLbimioKCHDab36l4dI4+85rSLvdb7Tg0AcLNI5LVRRhrWtHBoAHgNFqqvu+Z1+EU26jn4LHz/AMOjEqXeRObz4jucOH8eanvQTjxfTyUjz1oDdt+O7dcgeTg8eGVQxdewtaaXG47aNmu0+DxmH62gealay3iS41Q0jVXk/b3PRiIEVw88EREAREQBERAEREAREQBEXw8EB5y2kmMuPVDjwjdYeDWNH+ZxXeStfKb4tXH78v8AnAWeqFz+89XwdYtvNv2QRFiV2IsiHWOv2RxP8ea0pNvCOjOpGEeaTwjEx2Jzck8Zs+FzXDyIc0+TgD6q98JxJtVSw1DPdlYHeB4Oae8OBHkvPj3T1WjRkj79AfE8XeWikvR/tj/w576WqDtw52YOaCd048XAfWY7nbUHkblXVRmqep5O8uaNW4cqfx+5Z21GEOqIRunbueF4khfybI2+h+64EtPcVw2W2gFVG4ObuqiE5Z4T70T/AN2GxIdzWXQ45TTC8NRDIPuyNJHcW3uD4hRLb91NHKydlWylrmN6p1dvWfYmYwElhtoSNLc7LUlnus1N9Sequ8S6P54pXyYbVGna85jEXPawOPHKW3Fu4tNu22iYB0qQPsyrbuXjTOy74nd4t1m+hHepP/8AsqC1/bKf/utv6XuspTi9jGYyItT4BjhNnYhG0doAefTdD5qWCo9hojJVTumMYJfI4NaXuPBrGN0HIAKO430p0kQIgDqh/KwLI7973C5HgCqwx/aeatla6peRG03bHHo1vgCdXW0zG54+CmoSnvoRc1HYzKfE3VlZNUzEbxw6jeTG6gNb+EaeZPNbZR6uwwZWzU97AA2F7+I537QsvCMXElmP0fy7HeHYe5RuqEovPQ6/B7+k49k9Hn5/k2y0uLybuqpZhpke0/0Pa79yt0tBtb7jD+L5BaaD/UR0OKRzay+Hqj1FSuuxp+6F2rEwk/QRfgCy10TyAREQBERAEREAREQBERAF8K+ogPNOKNyYzVt7Xu/UGyLMkeGgkmwAuT2Bd3SnS7jGRJazZQ0379WO/Tl9Vh4hCXxSNHEtNvHkqVxHvo9Lwmo/+aSW6b9NPqaiqxp0hyQNNzztr5Dl4lZOH4G1vXlOd3HXVo8b+8fFdWykjcr22AcDe/MtPD0PzWRUvcXEE8D5LpUaMIRyjzN5e1q8++zNlrWjQa+HBanEWb4dbS3Ajkua+Le9dynHTVG3w3HKMNazEMNhnsAN/A1rJHAaAyNBaCbcXA69i1tFS00s9VJFFlg3lomOucrOV8xJuRY6nRdS7cFID5mcL5Xjw1B+NvVUrqLjTbR2OESjO6jGaXX0Z9q8Aid7hMZ9W+hN/isejjbA5rKihZU3NmOE0sRdxNiWGzvNoPet4tXUUpmqY46WPeVIOawIGjQSQ4ucGj1+apUak2+Xc7fELO3jDtMKPlp9MNZ+QxGrZPLudzDQRNAJjYGl8p7XTWBd3Dh4nUbCOkja0saxuUix53v2nmu2s2SxCAirfC2W7S0xwuLnxjje1ut+W/HsWvhxJzml24nIaSCRGSARxBPcpVYVHjCNdhXs6SllrOXq1rj0+WDXYNK5gc2/uvI8bLqx2NnUkj6r3O1A7eIcO+65Ye67XO+09zvC/JcmR56mNvJgzHy4fGy6MpYpZZ5ulT7S5UIdXgkDeGq0W0rczoWDi4kepaAt8tdh9P7Ri9LENQ17CfyXkPyAXKt1mZ67i0+W2a8Wl7+x6Qw5loox2NCyVxjbYAdgsuS6B5MIiIAiIgCIiAIiIAiIgCIiAqrp3wbPTR1LRrC6zrDXK6wPxynyKgWGVO8iY7nax8Rof5816ExvDm1EEkTxcPaRbxFl5sigdR1ctLL9qwJ5/Yd+YaeK0V4c0fI6fCrlUq2HtLT7f3+TGiG5rbcGvPwfw/V8lsa9tnnvAP8Av0WLtPD1WSDi11vXUfEfFZta7M1jx9YfOxHzVq0nzUyhxWh2Ny0tn/v4MRcZHWBJ5C65LqqRdjh90/JWGc9HY03AP2gCPArpke5j2yNGbLcEDmD/APVmzNtHCPuD5BdBUZxUlhk6VSVOanHdGRhDKiskLG/Qxt99/Fwv9UE/WPw+e7xnZ0U8TJ6QFk1K7eB2pdIB7+Y89L6dlxzWi2d2jdRgxyR5o3OLi5vv3PE3OjuHA2U8wzGIagfRPDtNWnRw8WnVa6VKmlhLU23V1XqTU5vK+hKdn8Rpqh1FXOqXRuqIDAymdK0ROkBzPtH9aUHq38FCNmJmsojI85W7yd5J4Bu8kN/Rc9h6qKjqqumnawsha+rpnPAJi6p3mQn3dAOH2XFRWtrD7LTUg+rEx834iA8R+pzHySno2Rq96KMAvD5JJcoZvXF2UaZRy07eZ7yV2YAzMZZftHKPAf7HosXEJcrD2nQea2tNlghY17g2w1ubXJ1Nu3VV7yWIqC6nW4JSUqzqy2ivwZU0ga0uPBoJPktx0IYUZquarcNGdUfidZzvQZB5qEY5ijXtDIze56x4DTgLnv1v3L0F0c4MymoImMc11xmLmm4cTqSD2G/pZarem4rLN/FrqNWahB5S9SUIiKwcgIiIAiIgCIiAIiIAiIgCIiAKsemDYw1EftMLbyxA3A4vbxLfHmO/xVnLi9gIIOoKA8sCu3tNIx3/AFGNvr9YNIN/HTVZdI7NSxns09Lj+FMelLo8cxz6ulbobmRg+Lm9/aOfjxhODOvSu7n/APqf3UreKi2l1JXteVaMXLdaZOSwKusylzdCCNLctLWPms8L6I4rWMLPJWGm9ilFpbmPPi0WSPU3a0A6HQ2HMrqhr8//AE2SSfgbm+V1dvRTglI/DKWf2aAzFrmvkMTDIXNc5hJeRf6qnrGACwAA7hZae0kb+yieX201U73aKqcD/cTW/wAiw6nBKoEOFFVRka3EM+neDk0Xq5FFyb3JKKWx5Gr6udxaJnSZmNLRnBDw12jmkkXIIJGvae1coq14sA25ceYcXOcfmVb/AEzNANI8/VqreTmE/wCkKrtpqm7WOZcOYTY878R8WhSinhyyYk1zKODplw6rfPFC6GRksh+jY9hjLu8by2mnHuU+h6LIoGtmxWubFmI6kZGZx+yJHi7z3NYpV0qAOhwyvZa8NVCb/wB1NbML+IYtxtJh0bZY6tstHBMQBvq0OlygAACAOlaIud8vG57Stb1eTYtFhbHQzo8wyak3cdNuwW9WUseyoB5PzSDOfB2ndZR3oXxB8MtXhsx61PI7L2WBLXBv3cwzD/EVg7P1Ej2kvqaap7DTxlgHj9M+/wAFV2Mk0u1cb2aCpDS7sOZroz+uFpQF0ogRDAREQBERAEREAREQBERAEREAREQGDjbL08oPNhXmLZx//Kv/ABN+Ib/C9T1MWZjm9osvPW0XRjVUznOgG8jBOUA2eByHYfh4KUZcryRnHmWDTotc2ucxxZK0tcONwQ4eLSsyOoa7g4fv6LepJlaUGty4ug6pzYdLH/YVUrfJ2WS/rIfRWGqh6DKy09fB2iKVv6mv/wBCt5V3uWlsERFgyVX01N/5eI/Zq4/i14/dVNiw+j/MP3Vx9MsV6GUgXLZoXDxLmt/1KocYwurjMMc8W6NQ60YJbdxBaNbOOXV7eNuKnGSSaIyi3JMne020DH7M08RkZvt1ThrS8bxxiewOIbe/BpKkT+kjDi1gfI2Q2AA9nkeQewdRcdh+i+FkDXVUbHzG5JtcdwGYchbsWZtB0XwyvZJTvdTPYNHQkMPqB/HFQJmwwHGYJSXwwGMgXzPpJIdOdnuYAfVQaGYYhtHE6I5oqSOxcLFrnDeXIPMZpP8AxlbKboonl6s1dUvYeIdKXAjwcCPgprsdsfBQMLYhdztS46k+aAkiIiGAiIgCIiAIiIAiIgCIiAIiIAiIgC+EXX1EBGtotiaWrH0kbb8iBYjwI1Hkq+xHoV1O6mIHY4B1vkfirmRAUNsTQOwvaCGme7MJonMzWsDnBc3S5+vFbjzV8Ko+m2mdDNR18YOaGVpNudiHtB7rst+ZWvSVLZI2SMN2yNa5p7WuAIPoUB2ovqICv+l0Ww+pP2TC7+mSM/so90xRkU1NUtF3U9Q13kQTa/4mMUr6WYM2GVf+AT/QQ4qrsa2pqsTpxTRUlmOLLvzOdcsIt1iGtbqNeKGS/cLqBJDG9uoc0EeHJZS1OylE6Gip4n+9HE1p8gB+y2yGAiIgCIiAIiIAiIgCIiAIiIAiIgCIiAIiIAiIgCIiAjfSFgntdBNEBd2W7fxDVvxAVRYJt/ieHxRwPp2viiaGtEkbw5rRwaJWHKQBpwK9ArGmw+N3vMafIICp6fpzbb6SjcD9yYH4OYFym6cYyOpSyX75GftdWU/Z2mPGJq+N2cphwiagKWxvpHqqyKSCOk0mY6Mk7yR2V4LTbKGhpsePJWN0SYK+nw9jZmBr8znW0JAc5zgL9uqlkWFQt4Rt9AswBAfUREAREQBERAEREAREQBERAEREAREQBERAEREAREQBERAEREAREQBERAEREAREQBERAEREAREQBERAEREAREQBERAEREAREQBERAEREAREQBERAEREAREQBERAEREAREQBERAf/9k="/>
          <p:cNvSpPr>
            <a:spLocks noChangeAspect="1" noChangeArrowheads="1"/>
          </p:cNvSpPr>
          <p:nvPr/>
        </p:nvSpPr>
        <p:spPr bwMode="auto">
          <a:xfrm>
            <a:off x="44132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sz="1200">
              <a:latin typeface="Cambria" pitchFamily="18" charset="0"/>
            </a:endParaRPr>
          </a:p>
        </p:txBody>
      </p:sp>
      <p:sp>
        <p:nvSpPr>
          <p:cNvPr id="40" name="AutoShape 10" descr="data:image/jpeg;base64,/9j/4AAQSkZJRgABAQAAAQABAAD/2wCEAAkGBxQTEBITExQVFBUTFBgZGRgVFRQYFhQXGB4XGBUVFxYYHCogGBolHBYWITEhJSkrLi4uGCAzODMsNygtLisBCgoKDg0OGxAQGiwkHyQwLSwyLi00LDQsNzAtLCwsLCw3LCwuLCwvLCwsLCwsLCwsLCwsLCwvNCwsLCwsLCwsNP/AABEIAOEA4QMBIgACEQEDEQH/xAAcAAEAAgIDAQAAAAAAAAAAAAAABgcEBQIDCAH/xABDEAABAwIDBAcECQEGBwEAAAABAAIDBBEFEiEGEzFBByJRYXGBkRQyobEjQlJicoKiwdGSU2NzssLwFSQzk6PS4Rb/xAAaAQEAAgMBAAAAAAAAAAAAAAAAAgQBAwUG/8QALxEAAgEDAgMGBQUBAAAAAAAAAAECAwQRITEFEkETIlFxscGBkaHR4SMyYfDxFP/aAAwDAQACEQMRAD8AvFERAEREAREQBERAEREAREQBERAEREAREQBERAEREAREQBERAEREAREQBERAEREAREQBERAEREARFhYpisVPG6SaRrGt4lxAA9UBmr4Sqh2h6aWAubRxGS315Ltb3HL7x88qiNNtFjOJSFsD5D27kNjjZ+KQ6jwLr+KGcHoreDtHqF9Dx2j1VHxdHGKPF5K/K48t/Uu+Oi4ybDYzDrDWby3IVEoJ/LIMvqVHnj4meVl6IqEi27xfD3NFZEXM/vWBt+5s0fUJ8irP2M28pq9tmHJKB1o36OHeOTm9487KRjBLEREMBERAEREAREQBERAEREAREQBERAEREAREQBEUb242oioaZ73uAeWkRt5vdbRoHpfsCA0u3XSEKaQUtKz2irfYBjbkNJ4F1teGthy1JA1UHxTDGtvU4zO6olAzCmjdljiHLMRw8rX+8tLsbjj2b58FNLV18xdnlIBZEHG/VtfidTfKOA4Bb7Y6hfUYpuq6Pdvhj9o3TyHGV1wGvcQbFrS69u23YsN4WSSRtMC2XkrmMfUxtpKLR0dHC3IZLatfO4WI7baHw5z+lhjhY2OFjWMaLBrAGtHgAuyaTktXjmOU9GwPqZRGHe6LFz3245WN1Kqym5M3qKS1NmZSuOc9pWk2d2ppq3P7O8uLLZmuaWuAPA2PEd4W6Wt5W5NY6HyVoc0tcA5rhYtcAWkdhB0IVY7abBGE+2YdmifF1jHHfS3F0Q5acWcCOHYbPWn2n2jjoYmyOY+V8j8kccYu57rFx8AAOOvgpQlJPQxJLGp1dGO3ja+LdyWbURgZgODxykZ3Hs5HxBM8Xlitx7d4j7XTwupXh2d0JcbZjfOPdaQ145EaEm3K3pjAcSbU00U7DdsjGuHgQCL9+qulVmeiIhgIiIAiIgCIiAIiIAiIgCIiAIiIAiIgPj3WBPYF55xJhxXGZ968tp6fNmI+rFEcpDfvPffXsPcFb23e2MNBCS/rSPBDIwes48/ADmeV+0gKkNjaglte7nI6C/m6Z5HqAhlEqmxgtYIaZop4G6NZHoT3ucNS48/3XVsIHOxpz9Tlo3ZiddXPYBc/74LAUh6LYLzV83PPFEO4NbmPxcFCo8RZKCzIsEuA1PAa+irrZXZv/iDnYliDd4ZzeGF3uMi1yXHMW4DhzNydLGXwBVFJpaFlrJhUGD08Di6GCKIkZSY42sJA1AOUahZyTU2eN7QS0ua5oI0LSQQDfu4rT7LYr7RTNL7CaMmOdvNkzOq8EcrkXHcQsYeMjK2Nwvltb8xz5i/H5BajanGfZIWzEAsE0TZCb9SN7g179OYuCtuDfzTANPtTs3FWwujkaM9ju5LdaN3Ig9naOBWD0IVrjQvgf71NM+Mjssb28i4jyWVjtcaatpHOP0NSHQOJOjJvfgPdm+kb5haXozq2Q4ritOXBpfUOka0nUhznF1h3Xb6hWKOVoaauHqWsiIt5pCIiAIiIAiIgCIiAIiIAiIgCIiALR7YbRx0NK+aTkLNaOL3H3WjvJ/c8lunusCTyXnfbvGnYniO7aTuICWi17GxtI/zIyjuF+ZWG0llk6dOVSShHdmpdLJWzSVtWbt1NuVm3IY37g+Jv3rnsrgNRWe0PjkbS0+a80rzZjbXc1o4XIzdoFjqeAWdi4Ap5GNFgGEWHIAcFLcGpIn7Mg5A/dxzy5eTpWb22YfWsbEA8wOxV4VHLMvgdS/to26hSj4Zb8X9l0ItjOy8tJTispqxlZAHAPLNQ25AB0c4EXIBIIIuPKS9FVeDNVxjhK2KdvmN28fpb6r5hmw243DY3SOhraZ8NWLjRzoy5kzRys64HG1x2lb7ZLYWCgkdKx8skjmFl3ltg0lpIDWgDi0am/BZnNOLRz4xaeSVIiKubiH7VVuLRT5qOKKaAtHVIGcO1zXu9ptwta6wNicKrjXz11XG2nEseUxst9I4Zcry0OdwDTqTfVT9FPn0xgjy65MPF8OZUQSwSe7KwtNuIvwcO8GxHgoZsTi8jDLhNU8sqIWubFJ/aR26pYTxc0WI7QO1pVgFqiu3WyvtkbZIju6qDrRPGhNtd2TyF9QeR7rgotbMNdUaKPo7qZXt9txCSaJrgcjS8FxHA3c6zPEAnsI4qE7WxyNxStlhcWvgma4Fp6w6o6wPO1tRzBKtPo52mdX0hkkbZ8b8jiPdecrXZgOWjhcdqrmSbeVuIScnVUjR3hhLQfQBSc5Ry30N1rbxr1FDo8+j9y2+jTbNtfT2dYTx2EjR8HN+6beWo5KZrzFQ178Oro6mO+Qmzmjm02zs+Th3gL0ph1a2aJkrCHNe0EEcCCLgqzGSksop1qMqU3CW6MlERSNQREQBERAEREAREQBERAEREBC+ljHzSYfJkNpJbRs11BdxI8G5nflVN7N0m7gz/AFpNfy/VH7+aknTfXGavp6UHRjcx8XnKPQNd/UtdJpYDgBZVbqWiid7glHM5VX00Xm/x6nW9twQeB0Pmsro52kZSOloaogRSOJY9/uAuFnNdfQMcADfgDe/FYyxK/D2SjrDUcCOI/kKvTmo5T2Z0eIWbrxTj+5f3BbuLY9S0cAfLK1jAAGgHM51hoGtFy7QfytrG+4BHAgEctCLjRUJsfh0TMXpIpgJGOfpmGhcWu3dxz64bp22XoCYardKKSTR5xqUZOMlho4Iul9S0SMjJs54cWj7WS2a3eMwNvHsXctZk+FcKgOyOy+9lOXxtp8Vg7S4g6CESNh3rGkb4A9ZsWu8e1tjnIGuXmLqHVWzNWGiXCsQduX9ZkckhewA8o3uDhl7ARp2qSjnqRbOzBukNraaKOohq3VMbAyRrYHOL3tGUuuNNSL+a7H1eKV3ViiGHQHjJL1p3NP2WaZT42/EtDOzaRtwHOf3t9gI/U0FZ+0WzWKVlVI3f7qlJbYGSwtlbm+jj1d1s2jiPFbcLPQhl/wAm7wKqo6Gmmgp5N6KSN0srhZwDtTZzx1c5LbBo4AclWuBNO5Dne88uee8uPFSLbimioKCHDab36l4dI4+85rSLvdb7Tg0AcLNI5LVRRhrWtHBoAHgNFqqvu+Z1+EU26jn4LHz/AMOjEqXeRObz4jucOH8eanvQTjxfTyUjz1oDdt+O7dcgeTg8eGVQxdewtaaXG47aNmu0+DxmH62gealay3iS41Q0jVXk/b3PRiIEVw88EREAREQBERAEREAREQBEXw8EB5y2kmMuPVDjwjdYeDWNH+ZxXeStfKb4tXH78v8AnAWeqFz+89XwdYtvNv2QRFiV2IsiHWOv2RxP8ea0pNvCOjOpGEeaTwjEx2Jzck8Zs+FzXDyIc0+TgD6q98JxJtVSw1DPdlYHeB4Oae8OBHkvPj3T1WjRkj79AfE8XeWikvR/tj/w576WqDtw52YOaCd048XAfWY7nbUHkblXVRmqep5O8uaNW4cqfx+5Z21GEOqIRunbueF4khfybI2+h+64EtPcVw2W2gFVG4ObuqiE5Z4T70T/AN2GxIdzWXQ45TTC8NRDIPuyNJHcW3uD4hRLb91NHKydlWylrmN6p1dvWfYmYwElhtoSNLc7LUlnus1N9Sequ8S6P54pXyYbVGna85jEXPawOPHKW3Fu4tNu22iYB0qQPsyrbuXjTOy74nd4t1m+hHepP/8AsqC1/bKf/utv6XuspTi9jGYyItT4BjhNnYhG0doAefTdD5qWCo9hojJVTumMYJfI4NaXuPBrGN0HIAKO430p0kQIgDqh/KwLI7973C5HgCqwx/aeatla6peRG03bHHo1vgCdXW0zG54+CmoSnvoRc1HYzKfE3VlZNUzEbxw6jeTG6gNb+EaeZPNbZR6uwwZWzU97AA2F7+I537QsvCMXElmP0fy7HeHYe5RuqEovPQ6/B7+k49k9Hn5/k2y0uLybuqpZhpke0/0Pa79yt0tBtb7jD+L5BaaD/UR0OKRzay+Hqj1FSuuxp+6F2rEwk/QRfgCy10TyAREQBERAEREAREQBERAF8K+ogPNOKNyYzVt7Xu/UGyLMkeGgkmwAuT2Bd3SnS7jGRJazZQ0379WO/Tl9Vh4hCXxSNHEtNvHkqVxHvo9Lwmo/+aSW6b9NPqaiqxp0hyQNNzztr5Dl4lZOH4G1vXlOd3HXVo8b+8fFdWykjcr22AcDe/MtPD0PzWRUvcXEE8D5LpUaMIRyjzN5e1q8++zNlrWjQa+HBanEWb4dbS3Ajkua+Le9dynHTVG3w3HKMNazEMNhnsAN/A1rJHAaAyNBaCbcXA69i1tFS00s9VJFFlg3lomOucrOV8xJuRY6nRdS7cFID5mcL5Xjw1B+NvVUrqLjTbR2OESjO6jGaXX0Z9q8Aid7hMZ9W+hN/isejjbA5rKihZU3NmOE0sRdxNiWGzvNoPet4tXUUpmqY46WPeVIOawIGjQSQ4ucGj1+apUak2+Xc7fELO3jDtMKPlp9MNZ+QxGrZPLudzDQRNAJjYGl8p7XTWBd3Dh4nUbCOkja0saxuUix53v2nmu2s2SxCAirfC2W7S0xwuLnxjje1ut+W/HsWvhxJzml24nIaSCRGSARxBPcpVYVHjCNdhXs6SllrOXq1rj0+WDXYNK5gc2/uvI8bLqx2NnUkj6r3O1A7eIcO+65Ye67XO+09zvC/JcmR56mNvJgzHy4fGy6MpYpZZ5ulT7S5UIdXgkDeGq0W0rczoWDi4kepaAt8tdh9P7Ri9LENQ17CfyXkPyAXKt1mZ67i0+W2a8Wl7+x6Qw5loox2NCyVxjbYAdgsuS6B5MIiIAiIgCIiAIiIAiIgCIiAqrp3wbPTR1LRrC6zrDXK6wPxynyKgWGVO8iY7nax8Rof5816ExvDm1EEkTxcPaRbxFl5sigdR1ctLL9qwJ5/Yd+YaeK0V4c0fI6fCrlUq2HtLT7f3+TGiG5rbcGvPwfw/V8lsa9tnnvAP8Av0WLtPD1WSDi11vXUfEfFZta7M1jx9YfOxHzVq0nzUyhxWh2Ny0tn/v4MRcZHWBJ5C65LqqRdjh90/JWGc9HY03AP2gCPArpke5j2yNGbLcEDmD/APVmzNtHCPuD5BdBUZxUlhk6VSVOanHdGRhDKiskLG/Qxt99/Fwv9UE/WPw+e7xnZ0U8TJ6QFk1K7eB2pdIB7+Y89L6dlxzWi2d2jdRgxyR5o3OLi5vv3PE3OjuHA2U8wzGIagfRPDtNWnRw8WnVa6VKmlhLU23V1XqTU5vK+hKdn8Rpqh1FXOqXRuqIDAymdK0ROkBzPtH9aUHq38FCNmJmsojI85W7yd5J4Bu8kN/Rc9h6qKjqqumnawsha+rpnPAJi6p3mQn3dAOH2XFRWtrD7LTUg+rEx834iA8R+pzHySno2Rq96KMAvD5JJcoZvXF2UaZRy07eZ7yV2YAzMZZftHKPAf7HosXEJcrD2nQea2tNlghY17g2w1ubXJ1Nu3VV7yWIqC6nW4JSUqzqy2ivwZU0ga0uPBoJPktx0IYUZquarcNGdUfidZzvQZB5qEY5ijXtDIze56x4DTgLnv1v3L0F0c4MymoImMc11xmLmm4cTqSD2G/pZarem4rLN/FrqNWahB5S9SUIiKwcgIiIAiIgCIiAIiIAiIgCIiAKsemDYw1EftMLbyxA3A4vbxLfHmO/xVnLi9gIIOoKA8sCu3tNIx3/AFGNvr9YNIN/HTVZdI7NSxns09Lj+FMelLo8cxz6ulbobmRg+Lm9/aOfjxhODOvSu7n/APqf3UreKi2l1JXteVaMXLdaZOSwKusylzdCCNLctLWPms8L6I4rWMLPJWGm9ilFpbmPPi0WSPU3a0A6HQ2HMrqhr8//AE2SSfgbm+V1dvRTglI/DKWf2aAzFrmvkMTDIXNc5hJeRf6qnrGACwAA7hZae0kb+yieX201U73aKqcD/cTW/wAiw6nBKoEOFFVRka3EM+neDk0Xq5FFyb3JKKWx5Gr6udxaJnSZmNLRnBDw12jmkkXIIJGvae1coq14sA25ceYcXOcfmVb/AEzNANI8/VqreTmE/wCkKrtpqm7WOZcOYTY878R8WhSinhyyYk1zKODplw6rfPFC6GRksh+jY9hjLu8by2mnHuU+h6LIoGtmxWubFmI6kZGZx+yJHi7z3NYpV0qAOhwyvZa8NVCb/wB1NbML+IYtxtJh0bZY6tstHBMQBvq0OlygAACAOlaIud8vG57Stb1eTYtFhbHQzo8wyak3cdNuwW9WUseyoB5PzSDOfB2ndZR3oXxB8MtXhsx61PI7L2WBLXBv3cwzD/EVg7P1Ej2kvqaap7DTxlgHj9M+/wAFV2Mk0u1cb2aCpDS7sOZroz+uFpQF0ogRDAREQBERAEREAREQBERAEREAREQGDjbL08oPNhXmLZx//Kv/ABN+Ib/C9T1MWZjm9osvPW0XRjVUznOgG8jBOUA2eByHYfh4KUZcryRnHmWDTotc2ucxxZK0tcONwQ4eLSsyOoa7g4fv6LepJlaUGty4ug6pzYdLH/YVUrfJ2WS/rIfRWGqh6DKy09fB2iKVv6mv/wBCt5V3uWlsERFgyVX01N/5eI/Zq4/i14/dVNiw+j/MP3Vx9MsV6GUgXLZoXDxLmt/1KocYwurjMMc8W6NQ60YJbdxBaNbOOXV7eNuKnGSSaIyi3JMne020DH7M08RkZvt1ThrS8bxxiewOIbe/BpKkT+kjDi1gfI2Q2AA9nkeQewdRcdh+i+FkDXVUbHzG5JtcdwGYchbsWZtB0XwyvZJTvdTPYNHQkMPqB/HFQJmwwHGYJSXwwGMgXzPpJIdOdnuYAfVQaGYYhtHE6I5oqSOxcLFrnDeXIPMZpP8AxlbKboonl6s1dUvYeIdKXAjwcCPgprsdsfBQMLYhdztS46k+aAkiIiGAiIgCIiAIiIAiIgCIiAIiIAiIgC+EXX1EBGtotiaWrH0kbb8iBYjwI1Hkq+xHoV1O6mIHY4B1vkfirmRAUNsTQOwvaCGme7MJonMzWsDnBc3S5+vFbjzV8Ko+m2mdDNR18YOaGVpNudiHtB7rst+ZWvSVLZI2SMN2yNa5p7WuAIPoUB2ovqICv+l0Ww+pP2TC7+mSM/so90xRkU1NUtF3U9Q13kQTa/4mMUr6WYM2GVf+AT/QQ4qrsa2pqsTpxTRUlmOLLvzOdcsIt1iGtbqNeKGS/cLqBJDG9uoc0EeHJZS1OylE6Gip4n+9HE1p8gB+y2yGAiIgCIiAIiIAiIgCIiAIiIAiIgCIiAIiIAiIgCIiAjfSFgntdBNEBd2W7fxDVvxAVRYJt/ieHxRwPp2viiaGtEkbw5rRwaJWHKQBpwK9ArGmw+N3vMafIICp6fpzbb6SjcD9yYH4OYFym6cYyOpSyX75GftdWU/Z2mPGJq+N2cphwiagKWxvpHqqyKSCOk0mY6Mk7yR2V4LTbKGhpsePJWN0SYK+nw9jZmBr8znW0JAc5zgL9uqlkWFQt4Rt9AswBAfUREAREQBERAEREAREQBERAEREAREQBERAEREAREQBERAEREAREQBERAEREAREQBERAEREAREQBERAEREAREQBERAEREAREQBERAEREAREQBERAEREAREQBERAEREAREQBERAf/9k="/>
          <p:cNvSpPr>
            <a:spLocks noChangeAspect="1" noChangeArrowheads="1"/>
          </p:cNvSpPr>
          <p:nvPr/>
        </p:nvSpPr>
        <p:spPr bwMode="auto">
          <a:xfrm>
            <a:off x="44132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sz="1200">
              <a:latin typeface="Cambria" pitchFamily="18" charset="0"/>
            </a:endParaRPr>
          </a:p>
        </p:txBody>
      </p:sp>
      <p:sp>
        <p:nvSpPr>
          <p:cNvPr id="42" name="TextBox 41"/>
          <p:cNvSpPr txBox="1"/>
          <p:nvPr/>
        </p:nvSpPr>
        <p:spPr>
          <a:xfrm>
            <a:off x="3448050" y="2838450"/>
            <a:ext cx="381000" cy="276999"/>
          </a:xfrm>
          <a:prstGeom prst="rect">
            <a:avLst/>
          </a:prstGeom>
          <a:noFill/>
        </p:spPr>
        <p:txBody>
          <a:bodyPr wrap="square" rtlCol="0">
            <a:spAutoFit/>
          </a:bodyPr>
          <a:lstStyle/>
          <a:p>
            <a:r>
              <a:rPr lang="en-US" sz="1200" dirty="0" smtClean="0">
                <a:latin typeface="Cambria" pitchFamily="18" charset="0"/>
              </a:rPr>
              <a:t>8</a:t>
            </a:r>
            <a:endParaRPr lang="en-US" sz="1200" dirty="0">
              <a:latin typeface="Cambria" pitchFamily="18" charset="0"/>
            </a:endParaRPr>
          </a:p>
        </p:txBody>
      </p:sp>
      <p:pic>
        <p:nvPicPr>
          <p:cNvPr id="43" name="Picture 2" descr="Stash Logo"/>
          <p:cNvPicPr>
            <a:picLocks noChangeAspect="1" noChangeArrowheads="1"/>
          </p:cNvPicPr>
          <p:nvPr/>
        </p:nvPicPr>
        <p:blipFill>
          <a:blip r:embed="rId14" cstate="print"/>
          <a:srcRect/>
          <a:stretch>
            <a:fillRect/>
          </a:stretch>
        </p:blipFill>
        <p:spPr bwMode="auto">
          <a:xfrm>
            <a:off x="1885950" y="3276600"/>
            <a:ext cx="1285875" cy="504826"/>
          </a:xfrm>
          <a:prstGeom prst="rect">
            <a:avLst/>
          </a:prstGeom>
          <a:noFill/>
        </p:spPr>
      </p:pic>
      <p:cxnSp>
        <p:nvCxnSpPr>
          <p:cNvPr id="44" name="Straight Arrow Connector 43"/>
          <p:cNvCxnSpPr/>
          <p:nvPr/>
        </p:nvCxnSpPr>
        <p:spPr>
          <a:xfrm>
            <a:off x="2505075" y="1724025"/>
            <a:ext cx="8447" cy="561976"/>
          </a:xfrm>
          <a:prstGeom prst="straightConnector1">
            <a:avLst/>
          </a:prstGeom>
          <a:ln w="22225">
            <a:tailEnd type="arrow"/>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H="1">
            <a:off x="1428750" y="2362200"/>
            <a:ext cx="685800" cy="0"/>
          </a:xfrm>
          <a:prstGeom prst="straightConnector1">
            <a:avLst/>
          </a:prstGeom>
          <a:ln w="22225">
            <a:tailEnd type="arrow"/>
          </a:ln>
        </p:spPr>
        <p:style>
          <a:lnRef idx="1">
            <a:schemeClr val="accent1"/>
          </a:lnRef>
          <a:fillRef idx="0">
            <a:schemeClr val="accent1"/>
          </a:fillRef>
          <a:effectRef idx="0">
            <a:schemeClr val="accent1"/>
          </a:effectRef>
          <a:fontRef idx="minor">
            <a:schemeClr val="tx1"/>
          </a:fontRef>
        </p:style>
      </p:cxnSp>
      <p:sp>
        <p:nvSpPr>
          <p:cNvPr id="46" name="Can 45"/>
          <p:cNvSpPr/>
          <p:nvPr/>
        </p:nvSpPr>
        <p:spPr>
          <a:xfrm>
            <a:off x="1952625" y="5048250"/>
            <a:ext cx="714375" cy="819150"/>
          </a:xfrm>
          <a:prstGeom prst="can">
            <a:avLst>
              <a:gd name="adj" fmla="val 2613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smtClean="0">
                <a:latin typeface="Cambria" pitchFamily="18" charset="0"/>
              </a:rPr>
              <a:t>Git feature</a:t>
            </a:r>
          </a:p>
          <a:p>
            <a:pPr algn="ctr"/>
            <a:r>
              <a:rPr lang="en-GB" sz="1200" b="1" dirty="0" smtClean="0">
                <a:latin typeface="Cambria" pitchFamily="18" charset="0"/>
              </a:rPr>
              <a:t>branch</a:t>
            </a:r>
            <a:endParaRPr lang="en-US" sz="1200" b="1" dirty="0" smtClean="0">
              <a:latin typeface="Cambria" pitchFamily="18" charset="0"/>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409700"/>
            <a:ext cx="8915400" cy="4716464"/>
          </a:xfrm>
        </p:spPr>
        <p:txBody>
          <a:bodyPr/>
          <a:lstStyle/>
          <a:p>
            <a:r>
              <a:rPr lang="en-US" sz="1600" b="1" dirty="0" smtClean="0">
                <a:latin typeface="Cambria" pitchFamily="18" charset="0"/>
              </a:rPr>
              <a:t>Tools used</a:t>
            </a:r>
          </a:p>
          <a:p>
            <a:pPr lvl="1"/>
            <a:r>
              <a:rPr lang="en-US" sz="1200" dirty="0" smtClean="0">
                <a:latin typeface="Cambria" pitchFamily="18" charset="0"/>
              </a:rPr>
              <a:t>Jenkins - Continuous Build System</a:t>
            </a:r>
          </a:p>
          <a:p>
            <a:pPr lvl="1"/>
            <a:r>
              <a:rPr lang="en-US" sz="1200" dirty="0" err="1" smtClean="0">
                <a:latin typeface="Cambria" pitchFamily="18" charset="0"/>
              </a:rPr>
              <a:t>Git</a:t>
            </a:r>
            <a:r>
              <a:rPr lang="en-US" sz="1200" dirty="0" smtClean="0">
                <a:latin typeface="Cambria" pitchFamily="18" charset="0"/>
              </a:rPr>
              <a:t>- CVS</a:t>
            </a:r>
          </a:p>
          <a:p>
            <a:pPr lvl="1"/>
            <a:r>
              <a:rPr lang="en-US" sz="1200" dirty="0" smtClean="0">
                <a:latin typeface="Cambria" pitchFamily="18" charset="0"/>
              </a:rPr>
              <a:t>Selenium standalone server in Linux machine as start up service in Hub mode</a:t>
            </a:r>
          </a:p>
          <a:p>
            <a:pPr lvl="1"/>
            <a:r>
              <a:rPr lang="en-US" sz="1200" dirty="0" smtClean="0">
                <a:latin typeface="Cambria" pitchFamily="18" charset="0"/>
              </a:rPr>
              <a:t>Behat- Test Framework</a:t>
            </a:r>
          </a:p>
          <a:p>
            <a:pPr lvl="1"/>
            <a:r>
              <a:rPr lang="en-US" sz="1200" dirty="0" smtClean="0">
                <a:latin typeface="Cambria" pitchFamily="18" charset="0"/>
              </a:rPr>
              <a:t>Firefox</a:t>
            </a:r>
          </a:p>
          <a:p>
            <a:pPr lvl="1"/>
            <a:r>
              <a:rPr lang="en-US" sz="1200" dirty="0" smtClean="0">
                <a:latin typeface="Cambria" pitchFamily="18" charset="0"/>
              </a:rPr>
              <a:t>Slack –notification </a:t>
            </a:r>
          </a:p>
          <a:p>
            <a:pPr lvl="1"/>
            <a:endParaRPr lang="en-US" sz="1200" dirty="0" smtClean="0">
              <a:latin typeface="Cambria" pitchFamily="18" charset="0"/>
            </a:endParaRPr>
          </a:p>
          <a:p>
            <a:r>
              <a:rPr lang="en-US" sz="1600" b="1" dirty="0" smtClean="0">
                <a:latin typeface="Cambria" pitchFamily="18" charset="0"/>
              </a:rPr>
              <a:t>Key </a:t>
            </a:r>
            <a:r>
              <a:rPr lang="en-US" sz="1600" b="1" dirty="0" smtClean="0">
                <a:latin typeface="Cambria" pitchFamily="18" charset="0"/>
              </a:rPr>
              <a:t>benefits of Smoke tests CI way</a:t>
            </a:r>
          </a:p>
          <a:p>
            <a:pPr lvl="1"/>
            <a:r>
              <a:rPr lang="en-US" sz="1200" dirty="0" smtClean="0">
                <a:latin typeface="Cambria" pitchFamily="18" charset="0"/>
              </a:rPr>
              <a:t>communication enhancement and customer satisfaction</a:t>
            </a:r>
          </a:p>
          <a:p>
            <a:pPr lvl="1"/>
            <a:r>
              <a:rPr lang="en-US" sz="1200" dirty="0" smtClean="0">
                <a:latin typeface="Cambria" pitchFamily="18" charset="0"/>
              </a:rPr>
              <a:t>Early feedback from SIT and UAT builds to developers i.e. after every new built of website, instant feedback can be provide</a:t>
            </a:r>
          </a:p>
          <a:p>
            <a:pPr lvl="1">
              <a:buNone/>
            </a:pPr>
            <a:r>
              <a:rPr lang="en-US" sz="1200" dirty="0" smtClean="0">
                <a:latin typeface="Cambria" pitchFamily="18" charset="0"/>
              </a:rPr>
              <a:t>	via smoke tests report.</a:t>
            </a:r>
          </a:p>
          <a:p>
            <a:pPr lvl="1"/>
            <a:r>
              <a:rPr lang="en-US" sz="1200" dirty="0" smtClean="0">
                <a:latin typeface="Cambria" pitchFamily="18" charset="0"/>
              </a:rPr>
              <a:t>Immediate bug detection</a:t>
            </a:r>
          </a:p>
          <a:p>
            <a:pPr lvl="1"/>
            <a:r>
              <a:rPr lang="en-US" sz="1200" dirty="0" smtClean="0">
                <a:latin typeface="Cambria" pitchFamily="18" charset="0"/>
              </a:rPr>
              <a:t>No integration step in the lifecycle </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1313" y="245000"/>
            <a:ext cx="9564687" cy="512133"/>
          </a:xfrm>
          <a:noFill/>
          <a:ln w="9525">
            <a:noFill/>
            <a:miter lim="800000"/>
            <a:headEnd/>
            <a:tailEnd/>
          </a:ln>
        </p:spPr>
        <p:txBody>
          <a:bodyPr lIns="80460" tIns="40230" rIns="80460" bIns="40230">
            <a:spAutoFit/>
          </a:bodyPr>
          <a:lstStyle/>
          <a:p>
            <a:pPr defTabSz="957756"/>
            <a:r>
              <a:rPr lang="en-US" sz="2800" dirty="0" smtClean="0">
                <a:solidFill>
                  <a:schemeClr val="tx1"/>
                </a:solidFill>
                <a:latin typeface="Arial Black" pitchFamily="34" charset="0"/>
                <a:ea typeface="+mn-ea"/>
                <a:cs typeface="+mn-cs"/>
              </a:rPr>
              <a:t>What </a:t>
            </a:r>
            <a:r>
              <a:rPr lang="en-US" sz="2800" dirty="0" smtClean="0">
                <a:solidFill>
                  <a:schemeClr val="tx1"/>
                </a:solidFill>
                <a:latin typeface="Arial Black" pitchFamily="34" charset="0"/>
                <a:ea typeface="+mn-ea"/>
                <a:cs typeface="+mn-cs"/>
              </a:rPr>
              <a:t>is </a:t>
            </a:r>
            <a:r>
              <a:rPr lang="en-US" sz="2800" dirty="0" smtClean="0">
                <a:solidFill>
                  <a:srgbClr val="F0EB07"/>
                </a:solidFill>
                <a:latin typeface="Arial Black" pitchFamily="34" charset="0"/>
                <a:ea typeface="+mn-ea"/>
                <a:cs typeface="+mn-cs"/>
              </a:rPr>
              <a:t>BDD?</a:t>
            </a:r>
            <a:endParaRPr lang="en-US" sz="2800" dirty="0">
              <a:solidFill>
                <a:srgbClr val="F0EB07"/>
              </a:solidFill>
              <a:latin typeface="Arial Black" pitchFamily="34" charset="0"/>
              <a:ea typeface="+mn-ea"/>
              <a:cs typeface="+mn-cs"/>
            </a:endParaRPr>
          </a:p>
        </p:txBody>
      </p:sp>
      <p:sp>
        <p:nvSpPr>
          <p:cNvPr id="3" name="Content Placeholder 2"/>
          <p:cNvSpPr>
            <a:spLocks noGrp="1"/>
          </p:cNvSpPr>
          <p:nvPr>
            <p:ph idx="1"/>
          </p:nvPr>
        </p:nvSpPr>
        <p:spPr>
          <a:xfrm>
            <a:off x="600500" y="1746913"/>
            <a:ext cx="8977835" cy="4217160"/>
          </a:xfrm>
        </p:spPr>
        <p:txBody>
          <a:bodyPr/>
          <a:lstStyle/>
          <a:p>
            <a:r>
              <a:rPr lang="en-US" dirty="0" smtClean="0">
                <a:latin typeface="Cambria" pitchFamily="18" charset="0"/>
              </a:rPr>
              <a:t>In software engineering, </a:t>
            </a:r>
            <a:r>
              <a:rPr lang="en-US" b="1" dirty="0" smtClean="0">
                <a:latin typeface="Cambria" pitchFamily="18" charset="0"/>
              </a:rPr>
              <a:t>behavior-driven development</a:t>
            </a:r>
            <a:r>
              <a:rPr lang="en-US" dirty="0" smtClean="0">
                <a:latin typeface="Cambria" pitchFamily="18" charset="0"/>
              </a:rPr>
              <a:t> (</a:t>
            </a:r>
            <a:r>
              <a:rPr lang="en-US" b="1" dirty="0" smtClean="0">
                <a:latin typeface="Cambria" pitchFamily="18" charset="0"/>
              </a:rPr>
              <a:t>BDD</a:t>
            </a:r>
            <a:r>
              <a:rPr lang="en-US" dirty="0" smtClean="0">
                <a:latin typeface="Cambria" pitchFamily="18" charset="0"/>
              </a:rPr>
              <a:t>) is a </a:t>
            </a:r>
            <a:r>
              <a:rPr lang="en-US" b="1" dirty="0" smtClean="0">
                <a:latin typeface="Cambria" pitchFamily="18" charset="0"/>
              </a:rPr>
              <a:t>software development process</a:t>
            </a:r>
            <a:r>
              <a:rPr lang="en-US" dirty="0" smtClean="0">
                <a:latin typeface="Cambria" pitchFamily="18" charset="0"/>
              </a:rPr>
              <a:t> that emerged from test-driven development (TDD).</a:t>
            </a:r>
          </a:p>
          <a:p>
            <a:pPr>
              <a:buNone/>
            </a:pPr>
            <a:endParaRPr lang="en-US" dirty="0" smtClean="0">
              <a:latin typeface="Cambria" pitchFamily="18" charset="0"/>
            </a:endParaRPr>
          </a:p>
          <a:p>
            <a:r>
              <a:rPr lang="en-US" dirty="0" smtClean="0">
                <a:latin typeface="Cambria" pitchFamily="18" charset="0"/>
              </a:rPr>
              <a:t>BDD is a development process where tests for code are written before the writing of implementation code.</a:t>
            </a:r>
          </a:p>
          <a:p>
            <a:pPr>
              <a:buNone/>
            </a:pPr>
            <a:endParaRPr lang="en-US" dirty="0" smtClean="0">
              <a:latin typeface="Cambria" pitchFamily="18" charset="0"/>
            </a:endParaRPr>
          </a:p>
          <a:p>
            <a:r>
              <a:rPr lang="en-GB" dirty="0" smtClean="0">
                <a:latin typeface="Cambria" pitchFamily="18" charset="0"/>
                <a:ea typeface="ＭＳ Ｐゴシック" charset="0"/>
                <a:cs typeface="Arial" panose="020B0604020202020204" pitchFamily="34" charset="0"/>
              </a:rPr>
              <a:t>BDD means examples (or scenarios) are written </a:t>
            </a:r>
            <a:r>
              <a:rPr lang="en-GB" b="1" dirty="0" smtClean="0">
                <a:latin typeface="Cambria" pitchFamily="18" charset="0"/>
                <a:ea typeface="ＭＳ Ｐゴシック" charset="0"/>
                <a:cs typeface="Arial" panose="020B0604020202020204" pitchFamily="34" charset="0"/>
              </a:rPr>
              <a:t>*before* </a:t>
            </a:r>
            <a:r>
              <a:rPr lang="en-GB" dirty="0" smtClean="0">
                <a:latin typeface="Cambria" pitchFamily="18" charset="0"/>
                <a:ea typeface="ＭＳ Ｐゴシック" charset="0"/>
                <a:cs typeface="Arial" panose="020B0604020202020204" pitchFamily="34" charset="0"/>
              </a:rPr>
              <a:t>the implementation of the software and happens iteratively, in </a:t>
            </a:r>
            <a:r>
              <a:rPr lang="en-GB" b="1" dirty="0" smtClean="0">
                <a:latin typeface="Cambria" pitchFamily="18" charset="0"/>
                <a:ea typeface="ＭＳ Ｐゴシック" charset="0"/>
                <a:cs typeface="Arial" panose="020B0604020202020204" pitchFamily="34" charset="0"/>
              </a:rPr>
              <a:t>collaboration</a:t>
            </a:r>
            <a:r>
              <a:rPr lang="en-GB" dirty="0" smtClean="0">
                <a:latin typeface="Cambria" pitchFamily="18" charset="0"/>
                <a:ea typeface="ＭＳ Ｐゴシック" charset="0"/>
                <a:cs typeface="Arial" panose="020B0604020202020204" pitchFamily="34" charset="0"/>
              </a:rPr>
              <a:t> with non-technical stakeholders.</a:t>
            </a:r>
          </a:p>
          <a:p>
            <a:pPr>
              <a:buNone/>
            </a:pPr>
            <a:endParaRPr lang="en-US" dirty="0" smtClean="0">
              <a:latin typeface="Cambria" pitchFamily="18" charset="0"/>
            </a:endParaRPr>
          </a:p>
          <a:p>
            <a:r>
              <a:rPr lang="en-GB" dirty="0" smtClean="0">
                <a:latin typeface="Cambria" pitchFamily="18" charset="0"/>
                <a:ea typeface="ＭＳ Ｐゴシック" charset="0"/>
                <a:cs typeface="Arial" panose="020B0604020202020204" pitchFamily="34" charset="0"/>
              </a:rPr>
              <a:t>Automated acceptance tests are a by-product of BDD.</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322562" name="think-cell Slide" r:id="rId5" imgW="360" imgH="360" progId="">
              <p:embed/>
            </p:oleObj>
          </a:graphicData>
        </a:graphic>
      </p:graphicFrame>
      <p:sp>
        <p:nvSpPr>
          <p:cNvPr id="10" name="Title 9"/>
          <p:cNvSpPr>
            <a:spLocks noGrp="1"/>
          </p:cNvSpPr>
          <p:nvPr>
            <p:ph type="ctrTitle" idx="4294967295"/>
            <p:custDataLst>
              <p:tags r:id="rId2"/>
            </p:custDataLst>
          </p:nvPr>
        </p:nvSpPr>
        <p:spPr>
          <a:xfrm>
            <a:off x="1363270" y="1991471"/>
            <a:ext cx="2696111" cy="1188720"/>
          </a:xfrm>
        </p:spPr>
        <p:txBody>
          <a:bodyPr>
            <a:scene3d>
              <a:camera prst="orthographicFront"/>
              <a:lightRig rig="flat" dir="tl">
                <a:rot lat="0" lon="0" rev="6600000"/>
              </a:lightRig>
            </a:scene3d>
            <a:sp3d extrusionH="25400" contourW="8890">
              <a:bevelT w="38100" h="31750"/>
              <a:contourClr>
                <a:schemeClr val="accent2">
                  <a:shade val="75000"/>
                </a:schemeClr>
              </a:contourClr>
            </a:sp3d>
          </a:bodyPr>
          <a:lstStyle/>
          <a:p>
            <a:r>
              <a:rPr lang="en-US" sz="4000" b="1"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Thank You</a:t>
            </a:r>
            <a:endParaRPr lang="en-US"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endParaRPr>
          </a:p>
        </p:txBody>
      </p:sp>
    </p:spTree>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9" descr="bdd-feature-parking2.png"/>
          <p:cNvPicPr>
            <a:picLocks noChangeAspect="1"/>
          </p:cNvPicPr>
          <p:nvPr/>
        </p:nvPicPr>
        <p:blipFill>
          <a:blip r:embed="rId3" cstate="print"/>
          <a:srcRect/>
          <a:stretch>
            <a:fillRect/>
          </a:stretch>
        </p:blipFill>
        <p:spPr bwMode="auto">
          <a:xfrm>
            <a:off x="4815417" y="2538007"/>
            <a:ext cx="2228328" cy="997849"/>
          </a:xfrm>
          <a:prstGeom prst="rect">
            <a:avLst/>
          </a:prstGeom>
          <a:noFill/>
          <a:ln w="9525">
            <a:noFill/>
            <a:miter lim="800000"/>
            <a:headEnd/>
            <a:tailEnd/>
          </a:ln>
        </p:spPr>
      </p:pic>
      <p:pic>
        <p:nvPicPr>
          <p:cNvPr id="4099" name="Picture 29" descr="Man drawing up a flowchart"/>
          <p:cNvPicPr>
            <a:picLocks noChangeAspect="1"/>
          </p:cNvPicPr>
          <p:nvPr/>
        </p:nvPicPr>
        <p:blipFill>
          <a:blip r:embed="rId4" cstate="print"/>
          <a:srcRect/>
          <a:stretch>
            <a:fillRect/>
          </a:stretch>
        </p:blipFill>
        <p:spPr bwMode="auto">
          <a:xfrm>
            <a:off x="7753350" y="1143000"/>
            <a:ext cx="1595892" cy="1309093"/>
          </a:xfrm>
          <a:prstGeom prst="rect">
            <a:avLst/>
          </a:prstGeom>
          <a:noFill/>
          <a:ln w="9525">
            <a:noFill/>
            <a:miter lim="800000"/>
            <a:headEnd/>
            <a:tailEnd/>
          </a:ln>
        </p:spPr>
      </p:pic>
      <p:sp>
        <p:nvSpPr>
          <p:cNvPr id="4100" name="TextBox 1"/>
          <p:cNvSpPr txBox="1">
            <a:spLocks noChangeArrowheads="1"/>
          </p:cNvSpPr>
          <p:nvPr/>
        </p:nvSpPr>
        <p:spPr bwMode="auto">
          <a:xfrm>
            <a:off x="376178" y="231386"/>
            <a:ext cx="9413138" cy="512133"/>
          </a:xfrm>
          <a:prstGeom prst="rect">
            <a:avLst/>
          </a:prstGeom>
          <a:noFill/>
          <a:ln w="9525">
            <a:noFill/>
            <a:miter lim="800000"/>
            <a:headEnd/>
            <a:tailEnd/>
          </a:ln>
        </p:spPr>
        <p:txBody>
          <a:bodyPr lIns="80460" tIns="40230" rIns="80460" bIns="40230">
            <a:spAutoFit/>
          </a:bodyPr>
          <a:lstStyle/>
          <a:p>
            <a:r>
              <a:rPr lang="en-US" sz="2800" dirty="0">
                <a:solidFill>
                  <a:srgbClr val="F0EB07"/>
                </a:solidFill>
                <a:latin typeface="Arial Black" pitchFamily="34" charset="0"/>
              </a:rPr>
              <a:t>BDD</a:t>
            </a:r>
            <a:r>
              <a:rPr lang="en-US" sz="2800" dirty="0">
                <a:latin typeface="Arial Black" pitchFamily="34" charset="0"/>
              </a:rPr>
              <a:t> development process</a:t>
            </a:r>
          </a:p>
        </p:txBody>
      </p:sp>
      <p:pic>
        <p:nvPicPr>
          <p:cNvPr id="4101" name="Picture 6" descr="Business Meeting"/>
          <p:cNvPicPr>
            <a:picLocks noChangeAspect="1"/>
          </p:cNvPicPr>
          <p:nvPr/>
        </p:nvPicPr>
        <p:blipFill>
          <a:blip r:embed="rId5" cstate="print"/>
          <a:srcRect/>
          <a:stretch>
            <a:fillRect/>
          </a:stretch>
        </p:blipFill>
        <p:spPr bwMode="auto">
          <a:xfrm>
            <a:off x="229886" y="2220655"/>
            <a:ext cx="1444625" cy="1215576"/>
          </a:xfrm>
          <a:prstGeom prst="rect">
            <a:avLst/>
          </a:prstGeom>
          <a:noFill/>
          <a:ln w="9525">
            <a:noFill/>
            <a:miter lim="800000"/>
            <a:headEnd/>
            <a:tailEnd/>
          </a:ln>
        </p:spPr>
      </p:pic>
      <p:sp>
        <p:nvSpPr>
          <p:cNvPr id="4102" name="TextBox 7"/>
          <p:cNvSpPr txBox="1">
            <a:spLocks noChangeArrowheads="1"/>
          </p:cNvSpPr>
          <p:nvPr/>
        </p:nvSpPr>
        <p:spPr bwMode="auto">
          <a:xfrm>
            <a:off x="309998" y="3645121"/>
            <a:ext cx="2229198" cy="1004575"/>
          </a:xfrm>
          <a:prstGeom prst="rect">
            <a:avLst/>
          </a:prstGeom>
          <a:noFill/>
          <a:ln w="9525">
            <a:noFill/>
            <a:miter lim="800000"/>
            <a:headEnd/>
            <a:tailEnd/>
          </a:ln>
        </p:spPr>
        <p:txBody>
          <a:bodyPr lIns="80460" tIns="40230" rIns="80460" bIns="40230">
            <a:spAutoFit/>
          </a:bodyPr>
          <a:lstStyle/>
          <a:p>
            <a:pPr algn="ctr"/>
            <a:r>
              <a:rPr lang="en-US" sz="1200" b="1" dirty="0">
                <a:latin typeface="Cambria" pitchFamily="18" charset="0"/>
              </a:rPr>
              <a:t>1</a:t>
            </a:r>
            <a:r>
              <a:rPr lang="en-US" sz="1200" dirty="0">
                <a:latin typeface="Cambria" pitchFamily="18" charset="0"/>
              </a:rPr>
              <a:t>. The business Owner and Business Analyst have a discussion about what it he needs.</a:t>
            </a:r>
          </a:p>
          <a:p>
            <a:pPr algn="ctr"/>
            <a:r>
              <a:rPr lang="en-US" sz="1200" dirty="0">
                <a:latin typeface="Cambria" pitchFamily="18" charset="0"/>
              </a:rPr>
              <a:t> </a:t>
            </a:r>
          </a:p>
        </p:txBody>
      </p:sp>
      <p:sp>
        <p:nvSpPr>
          <p:cNvPr id="4103" name="TextBox 15"/>
          <p:cNvSpPr txBox="1">
            <a:spLocks noChangeArrowheads="1"/>
          </p:cNvSpPr>
          <p:nvPr/>
        </p:nvSpPr>
        <p:spPr bwMode="auto">
          <a:xfrm>
            <a:off x="1420404" y="1128315"/>
            <a:ext cx="2229198" cy="635244"/>
          </a:xfrm>
          <a:prstGeom prst="rect">
            <a:avLst/>
          </a:prstGeom>
          <a:noFill/>
          <a:ln w="9525">
            <a:noFill/>
            <a:miter lim="800000"/>
            <a:headEnd/>
            <a:tailEnd/>
          </a:ln>
        </p:spPr>
        <p:txBody>
          <a:bodyPr lIns="80460" tIns="40230" rIns="80460" bIns="40230">
            <a:spAutoFit/>
          </a:bodyPr>
          <a:lstStyle/>
          <a:p>
            <a:pPr algn="ctr"/>
            <a:r>
              <a:rPr lang="en-US" sz="1200" b="1" dirty="0">
                <a:latin typeface="Cambria" pitchFamily="18" charset="0"/>
              </a:rPr>
              <a:t>2</a:t>
            </a:r>
            <a:r>
              <a:rPr lang="en-US" sz="1200" dirty="0">
                <a:latin typeface="Cambria" pitchFamily="18" charset="0"/>
              </a:rPr>
              <a:t>.The Business Analyst, Tester, Developers elaborates requirements together. </a:t>
            </a:r>
          </a:p>
        </p:txBody>
      </p:sp>
      <p:sp>
        <p:nvSpPr>
          <p:cNvPr id="4104" name="TextBox 20"/>
          <p:cNvSpPr txBox="1">
            <a:spLocks noChangeArrowheads="1"/>
          </p:cNvSpPr>
          <p:nvPr/>
        </p:nvSpPr>
        <p:spPr bwMode="auto">
          <a:xfrm>
            <a:off x="5746282" y="1243696"/>
            <a:ext cx="2229198" cy="635244"/>
          </a:xfrm>
          <a:prstGeom prst="rect">
            <a:avLst/>
          </a:prstGeom>
          <a:noFill/>
          <a:ln w="9525">
            <a:noFill/>
            <a:miter lim="800000"/>
            <a:headEnd/>
            <a:tailEnd/>
          </a:ln>
        </p:spPr>
        <p:txBody>
          <a:bodyPr lIns="80460" tIns="40230" rIns="80460" bIns="40230">
            <a:spAutoFit/>
          </a:bodyPr>
          <a:lstStyle/>
          <a:p>
            <a:pPr algn="ctr"/>
            <a:r>
              <a:rPr lang="en-US" sz="1200" b="1" dirty="0">
                <a:latin typeface="Cambria" pitchFamily="18" charset="0"/>
              </a:rPr>
              <a:t>3</a:t>
            </a:r>
            <a:r>
              <a:rPr lang="en-US" sz="1200" dirty="0">
                <a:latin typeface="Cambria" pitchFamily="18" charset="0"/>
              </a:rPr>
              <a:t>.The scenarios act as a guide to developer and act as automated tests</a:t>
            </a:r>
          </a:p>
        </p:txBody>
      </p:sp>
      <p:sp>
        <p:nvSpPr>
          <p:cNvPr id="4105" name="TextBox 21"/>
          <p:cNvSpPr txBox="1">
            <a:spLocks noChangeArrowheads="1"/>
          </p:cNvSpPr>
          <p:nvPr/>
        </p:nvSpPr>
        <p:spPr bwMode="auto">
          <a:xfrm>
            <a:off x="6560609" y="5272039"/>
            <a:ext cx="2228327" cy="450578"/>
          </a:xfrm>
          <a:prstGeom prst="rect">
            <a:avLst/>
          </a:prstGeom>
          <a:noFill/>
          <a:ln w="9525">
            <a:noFill/>
            <a:miter lim="800000"/>
            <a:headEnd/>
            <a:tailEnd/>
          </a:ln>
        </p:spPr>
        <p:txBody>
          <a:bodyPr lIns="80460" tIns="40230" rIns="80460" bIns="40230">
            <a:spAutoFit/>
          </a:bodyPr>
          <a:lstStyle/>
          <a:p>
            <a:pPr algn="ctr"/>
            <a:r>
              <a:rPr lang="en-US" sz="1200" b="1" dirty="0">
                <a:latin typeface="Cambria" pitchFamily="18" charset="0"/>
              </a:rPr>
              <a:t>4</a:t>
            </a:r>
            <a:r>
              <a:rPr lang="en-US" sz="1200" dirty="0">
                <a:latin typeface="Cambria" pitchFamily="18" charset="0"/>
              </a:rPr>
              <a:t>. Tester uses these scenarios as basis of her tests.</a:t>
            </a:r>
          </a:p>
        </p:txBody>
      </p:sp>
      <p:sp>
        <p:nvSpPr>
          <p:cNvPr id="4106" name="TextBox 22"/>
          <p:cNvSpPr txBox="1">
            <a:spLocks noChangeArrowheads="1"/>
          </p:cNvSpPr>
          <p:nvPr/>
        </p:nvSpPr>
        <p:spPr bwMode="auto">
          <a:xfrm>
            <a:off x="3282843" y="4861500"/>
            <a:ext cx="2229198" cy="635244"/>
          </a:xfrm>
          <a:prstGeom prst="rect">
            <a:avLst/>
          </a:prstGeom>
          <a:noFill/>
          <a:ln w="9525">
            <a:noFill/>
            <a:miter lim="800000"/>
            <a:headEnd/>
            <a:tailEnd/>
          </a:ln>
        </p:spPr>
        <p:txBody>
          <a:bodyPr lIns="80460" tIns="40230" rIns="80460" bIns="40230">
            <a:spAutoFit/>
          </a:bodyPr>
          <a:lstStyle/>
          <a:p>
            <a:pPr algn="ctr"/>
            <a:r>
              <a:rPr lang="en-US" sz="1200" b="1" dirty="0">
                <a:latin typeface="Cambria" pitchFamily="18" charset="0"/>
              </a:rPr>
              <a:t>5</a:t>
            </a:r>
            <a:r>
              <a:rPr lang="en-US" sz="1200" dirty="0">
                <a:latin typeface="Cambria" pitchFamily="18" charset="0"/>
              </a:rPr>
              <a:t>.Automated test provide feedback on progress and help as documentation.</a:t>
            </a:r>
          </a:p>
        </p:txBody>
      </p:sp>
      <p:cxnSp>
        <p:nvCxnSpPr>
          <p:cNvPr id="28" name="Straight Arrow Connector 27"/>
          <p:cNvCxnSpPr/>
          <p:nvPr/>
        </p:nvCxnSpPr>
        <p:spPr>
          <a:xfrm flipV="1">
            <a:off x="1792938" y="2209800"/>
            <a:ext cx="845487" cy="659216"/>
          </a:xfrm>
          <a:prstGeom prst="straightConnector1">
            <a:avLst/>
          </a:prstGeom>
          <a:ln>
            <a:headEnd type="none"/>
            <a:tailEnd type="arrow"/>
          </a:ln>
        </p:spPr>
        <p:style>
          <a:lnRef idx="2">
            <a:schemeClr val="accent1">
              <a:shade val="50000"/>
            </a:schemeClr>
          </a:lnRef>
          <a:fillRef idx="1">
            <a:schemeClr val="accent1"/>
          </a:fillRef>
          <a:effectRef idx="0">
            <a:schemeClr val="accent1"/>
          </a:effectRef>
          <a:fontRef idx="minor">
            <a:schemeClr val="lt1"/>
          </a:fontRef>
        </p:style>
      </p:cxnSp>
      <p:sp>
        <p:nvSpPr>
          <p:cNvPr id="4108" name="TextBox 28"/>
          <p:cNvSpPr txBox="1">
            <a:spLocks noChangeArrowheads="1"/>
          </p:cNvSpPr>
          <p:nvPr/>
        </p:nvSpPr>
        <p:spPr bwMode="auto">
          <a:xfrm>
            <a:off x="2978070" y="1944279"/>
            <a:ext cx="2228328" cy="819909"/>
          </a:xfrm>
          <a:prstGeom prst="rect">
            <a:avLst/>
          </a:prstGeom>
          <a:noFill/>
          <a:ln w="9525">
            <a:noFill/>
            <a:miter lim="800000"/>
            <a:headEnd/>
            <a:tailEnd/>
          </a:ln>
        </p:spPr>
        <p:txBody>
          <a:bodyPr lIns="80460" tIns="40230" rIns="80460" bIns="40230">
            <a:spAutoFit/>
          </a:bodyPr>
          <a:lstStyle/>
          <a:p>
            <a:r>
              <a:rPr lang="en-US" sz="1200" dirty="0">
                <a:latin typeface="Cambria" pitchFamily="18" charset="0"/>
              </a:rPr>
              <a:t>they define requirements as </a:t>
            </a:r>
            <a:r>
              <a:rPr lang="en-US" sz="1200" dirty="0" err="1">
                <a:latin typeface="Cambria" pitchFamily="18" charset="0"/>
              </a:rPr>
              <a:t>structued</a:t>
            </a:r>
            <a:r>
              <a:rPr lang="en-US" sz="1200" dirty="0">
                <a:latin typeface="Cambria" pitchFamily="18" charset="0"/>
              </a:rPr>
              <a:t>, </a:t>
            </a:r>
            <a:r>
              <a:rPr lang="en-US" sz="1200" dirty="0" err="1">
                <a:latin typeface="Cambria" pitchFamily="18" charset="0"/>
              </a:rPr>
              <a:t>english</a:t>
            </a:r>
            <a:r>
              <a:rPr lang="en-US" sz="1200" dirty="0">
                <a:latin typeface="Cambria" pitchFamily="18" charset="0"/>
              </a:rPr>
              <a:t> language format "scenarios"</a:t>
            </a:r>
          </a:p>
          <a:p>
            <a:r>
              <a:rPr lang="en-US" sz="1200" dirty="0">
                <a:latin typeface="Cambria" pitchFamily="18" charset="0"/>
              </a:rPr>
              <a:t>Given -  When - Then</a:t>
            </a:r>
          </a:p>
        </p:txBody>
      </p:sp>
      <p:pic>
        <p:nvPicPr>
          <p:cNvPr id="4110" name="Picture 3" descr="Metaphor of businesspeople sharing a thought balloon of a light bulb"/>
          <p:cNvPicPr>
            <a:picLocks noChangeAspect="1"/>
          </p:cNvPicPr>
          <p:nvPr/>
        </p:nvPicPr>
        <p:blipFill>
          <a:blip r:embed="rId6" cstate="print"/>
          <a:srcRect/>
          <a:stretch>
            <a:fillRect/>
          </a:stretch>
        </p:blipFill>
        <p:spPr bwMode="auto">
          <a:xfrm>
            <a:off x="4467078" y="1181100"/>
            <a:ext cx="1075860" cy="866775"/>
          </a:xfrm>
          <a:prstGeom prst="rect">
            <a:avLst/>
          </a:prstGeom>
          <a:noFill/>
          <a:ln w="9525">
            <a:noFill/>
            <a:miter lim="800000"/>
            <a:headEnd/>
            <a:tailEnd/>
          </a:ln>
        </p:spPr>
      </p:pic>
      <p:pic>
        <p:nvPicPr>
          <p:cNvPr id="4111" name="Picture 5" descr="Gold stick figure moving boxes"/>
          <p:cNvPicPr>
            <a:picLocks noChangeAspect="1"/>
          </p:cNvPicPr>
          <p:nvPr/>
        </p:nvPicPr>
        <p:blipFill>
          <a:blip r:embed="rId7" cstate="print"/>
          <a:srcRect/>
          <a:stretch>
            <a:fillRect/>
          </a:stretch>
        </p:blipFill>
        <p:spPr bwMode="auto">
          <a:xfrm>
            <a:off x="7567218" y="3074567"/>
            <a:ext cx="873393" cy="1074977"/>
          </a:xfrm>
          <a:prstGeom prst="rect">
            <a:avLst/>
          </a:prstGeom>
          <a:noFill/>
          <a:ln w="9525">
            <a:noFill/>
            <a:miter lim="800000"/>
            <a:headEnd/>
            <a:tailEnd/>
          </a:ln>
        </p:spPr>
      </p:pic>
      <p:cxnSp>
        <p:nvCxnSpPr>
          <p:cNvPr id="17" name="Straight Arrow Connector 16"/>
          <p:cNvCxnSpPr/>
          <p:nvPr/>
        </p:nvCxnSpPr>
        <p:spPr>
          <a:xfrm>
            <a:off x="5185983" y="2124075"/>
            <a:ext cx="385124" cy="365601"/>
          </a:xfrm>
          <a:prstGeom prst="straightConnector1">
            <a:avLst/>
          </a:prstGeom>
          <a:ln>
            <a:headEnd type="none"/>
            <a:tailEnd type="arrow"/>
          </a:ln>
        </p:spPr>
        <p:style>
          <a:lnRef idx="2">
            <a:schemeClr val="accent1">
              <a:shade val="50000"/>
            </a:schemeClr>
          </a:lnRef>
          <a:fillRef idx="1">
            <a:schemeClr val="accent1"/>
          </a:fillRef>
          <a:effectRef idx="0">
            <a:schemeClr val="accent1"/>
          </a:effectRef>
          <a:fontRef idx="minor">
            <a:schemeClr val="lt1"/>
          </a:fontRef>
        </p:style>
      </p:cxnSp>
      <p:cxnSp>
        <p:nvCxnSpPr>
          <p:cNvPr id="18" name="Straight Arrow Connector 17"/>
          <p:cNvCxnSpPr/>
          <p:nvPr/>
        </p:nvCxnSpPr>
        <p:spPr>
          <a:xfrm flipV="1">
            <a:off x="7000875" y="1990726"/>
            <a:ext cx="571500" cy="495299"/>
          </a:xfrm>
          <a:prstGeom prst="straightConnector1">
            <a:avLst/>
          </a:prstGeom>
          <a:ln>
            <a:headEnd type="none"/>
            <a:tailEnd type="arrow"/>
          </a:ln>
        </p:spPr>
        <p:style>
          <a:lnRef idx="2">
            <a:schemeClr val="accent1">
              <a:shade val="50000"/>
            </a:schemeClr>
          </a:lnRef>
          <a:fillRef idx="1">
            <a:schemeClr val="accent1"/>
          </a:fillRef>
          <a:effectRef idx="0">
            <a:schemeClr val="accent1"/>
          </a:effectRef>
          <a:fontRef idx="minor">
            <a:schemeClr val="lt1"/>
          </a:fontRef>
        </p:style>
      </p:cxnSp>
      <p:pic>
        <p:nvPicPr>
          <p:cNvPr id="4114" name="Picture 8"/>
          <p:cNvPicPr>
            <a:picLocks noChangeAspect="1"/>
          </p:cNvPicPr>
          <p:nvPr/>
        </p:nvPicPr>
        <p:blipFill>
          <a:blip r:embed="rId8" cstate="print"/>
          <a:srcRect/>
          <a:stretch>
            <a:fillRect/>
          </a:stretch>
        </p:blipFill>
        <p:spPr bwMode="auto">
          <a:xfrm>
            <a:off x="5757642" y="3987270"/>
            <a:ext cx="1462911" cy="1181029"/>
          </a:xfrm>
          <a:prstGeom prst="rect">
            <a:avLst/>
          </a:prstGeom>
          <a:noFill/>
          <a:ln w="9525">
            <a:noFill/>
            <a:miter lim="800000"/>
            <a:headEnd/>
            <a:tailEnd/>
          </a:ln>
        </p:spPr>
      </p:pic>
      <p:cxnSp>
        <p:nvCxnSpPr>
          <p:cNvPr id="26" name="Straight Arrow Connector 25"/>
          <p:cNvCxnSpPr/>
          <p:nvPr/>
        </p:nvCxnSpPr>
        <p:spPr>
          <a:xfrm flipV="1">
            <a:off x="6845207" y="3834728"/>
            <a:ext cx="512889" cy="630685"/>
          </a:xfrm>
          <a:prstGeom prst="straightConnector1">
            <a:avLst/>
          </a:prstGeom>
          <a:ln>
            <a:headEnd type="none"/>
            <a:tailEnd type="arrow"/>
          </a:ln>
        </p:spPr>
        <p:style>
          <a:lnRef idx="2">
            <a:schemeClr val="accent1">
              <a:shade val="50000"/>
            </a:schemeClr>
          </a:lnRef>
          <a:fillRef idx="1">
            <a:schemeClr val="accent1"/>
          </a:fillRef>
          <a:effectRef idx="0">
            <a:schemeClr val="accent1"/>
          </a:effectRef>
          <a:fontRef idx="minor">
            <a:schemeClr val="lt1"/>
          </a:fontRef>
        </p:style>
      </p:cxnSp>
      <p:pic>
        <p:nvPicPr>
          <p:cNvPr id="4116" name="Picture 23" descr="bdd-feature-parking2.png"/>
          <p:cNvPicPr>
            <a:picLocks noChangeAspect="1"/>
          </p:cNvPicPr>
          <p:nvPr/>
        </p:nvPicPr>
        <p:blipFill>
          <a:blip r:embed="rId3" cstate="print"/>
          <a:srcRect/>
          <a:stretch>
            <a:fillRect/>
          </a:stretch>
        </p:blipFill>
        <p:spPr bwMode="auto">
          <a:xfrm>
            <a:off x="5008730" y="2924452"/>
            <a:ext cx="2229198" cy="997849"/>
          </a:xfrm>
          <a:prstGeom prst="rect">
            <a:avLst/>
          </a:prstGeom>
          <a:noFill/>
          <a:ln w="9525">
            <a:noFill/>
            <a:miter lim="800000"/>
            <a:headEnd/>
            <a:tailEnd/>
          </a:ln>
        </p:spPr>
      </p:pic>
      <p:cxnSp>
        <p:nvCxnSpPr>
          <p:cNvPr id="11" name="Straight Arrow Connector 10"/>
          <p:cNvCxnSpPr/>
          <p:nvPr/>
        </p:nvCxnSpPr>
        <p:spPr>
          <a:xfrm flipH="1">
            <a:off x="4012478" y="4000500"/>
            <a:ext cx="959572" cy="852876"/>
          </a:xfrm>
          <a:prstGeom prst="straightConnector1">
            <a:avLst/>
          </a:prstGeom>
          <a:ln>
            <a:headEnd type="none"/>
            <a:tailEnd type="arrow"/>
          </a:ln>
        </p:spPr>
        <p:style>
          <a:lnRef idx="2">
            <a:schemeClr val="accent1">
              <a:shade val="50000"/>
            </a:schemeClr>
          </a:lnRef>
          <a:fillRef idx="1">
            <a:schemeClr val="accent1"/>
          </a:fillRef>
          <a:effectRef idx="0">
            <a:schemeClr val="accent1"/>
          </a:effectRef>
          <a:fontRef idx="minor">
            <a:schemeClr val="lt1"/>
          </a:fontRef>
        </p:style>
      </p:cxnSp>
      <p:pic>
        <p:nvPicPr>
          <p:cNvPr id="4118" name="Picture 12"/>
          <p:cNvPicPr>
            <a:picLocks noChangeAspect="1"/>
          </p:cNvPicPr>
          <p:nvPr/>
        </p:nvPicPr>
        <p:blipFill>
          <a:blip r:embed="rId9" cstate="print"/>
          <a:srcRect/>
          <a:stretch>
            <a:fillRect/>
          </a:stretch>
        </p:blipFill>
        <p:spPr bwMode="auto">
          <a:xfrm>
            <a:off x="9003871" y="4314370"/>
            <a:ext cx="776736" cy="764857"/>
          </a:xfrm>
          <a:prstGeom prst="rect">
            <a:avLst/>
          </a:prstGeom>
          <a:noFill/>
          <a:ln w="9525">
            <a:noFill/>
            <a:miter lim="800000"/>
            <a:headEnd/>
            <a:tailEnd/>
          </a:ln>
        </p:spPr>
      </p:pic>
      <p:cxnSp>
        <p:nvCxnSpPr>
          <p:cNvPr id="31" name="Straight Arrow Connector 30"/>
          <p:cNvCxnSpPr/>
          <p:nvPr/>
        </p:nvCxnSpPr>
        <p:spPr>
          <a:xfrm flipH="1">
            <a:off x="7248525" y="2562225"/>
            <a:ext cx="647700" cy="514350"/>
          </a:xfrm>
          <a:prstGeom prst="straightConnector1">
            <a:avLst/>
          </a:prstGeom>
          <a:ln>
            <a:headEnd type="none"/>
            <a:tailEnd type="arrow"/>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Arrow Connector 31"/>
          <p:cNvCxnSpPr/>
          <p:nvPr/>
        </p:nvCxnSpPr>
        <p:spPr>
          <a:xfrm>
            <a:off x="8033822" y="3898198"/>
            <a:ext cx="934348" cy="573642"/>
          </a:xfrm>
          <a:prstGeom prst="straightConnector1">
            <a:avLst/>
          </a:prstGeom>
          <a:ln>
            <a:headEnd type="none"/>
            <a:tailEnd type="arrow"/>
          </a:ln>
        </p:spPr>
        <p:style>
          <a:lnRef idx="2">
            <a:schemeClr val="accent1">
              <a:shade val="50000"/>
            </a:schemeClr>
          </a:lnRef>
          <a:fillRef idx="1">
            <a:schemeClr val="accent1"/>
          </a:fillRef>
          <a:effectRef idx="0">
            <a:schemeClr val="accent1"/>
          </a:effectRef>
          <a:fontRef idx="minor">
            <a:schemeClr val="lt1"/>
          </a:fontRef>
        </p:style>
      </p:cxnSp>
      <p:pic>
        <p:nvPicPr>
          <p:cNvPr id="4121" name="Picture 24" descr="report.png"/>
          <p:cNvPicPr>
            <a:picLocks noChangeAspect="1"/>
          </p:cNvPicPr>
          <p:nvPr/>
        </p:nvPicPr>
        <p:blipFill>
          <a:blip r:embed="rId10" cstate="print"/>
          <a:srcRect/>
          <a:stretch>
            <a:fillRect/>
          </a:stretch>
        </p:blipFill>
        <p:spPr bwMode="auto">
          <a:xfrm>
            <a:off x="1905000" y="5323927"/>
            <a:ext cx="1389444" cy="99339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4326" y="349775"/>
            <a:ext cx="8020050" cy="512133"/>
          </a:xfrm>
          <a:noFill/>
          <a:ln w="9525">
            <a:noFill/>
            <a:miter lim="800000"/>
            <a:headEnd/>
            <a:tailEnd/>
          </a:ln>
        </p:spPr>
        <p:txBody>
          <a:bodyPr lIns="80460" tIns="40230" rIns="80460" bIns="40230">
            <a:spAutoFit/>
          </a:bodyPr>
          <a:lstStyle/>
          <a:p>
            <a:pPr indent="0" defTabSz="957756"/>
            <a:r>
              <a:rPr lang="en-GB" sz="2800" dirty="0" smtClean="0">
                <a:solidFill>
                  <a:schemeClr val="tx1"/>
                </a:solidFill>
                <a:latin typeface="Arial Black" pitchFamily="34" charset="0"/>
                <a:ea typeface="+mn-ea"/>
                <a:cs typeface="+mn-cs"/>
              </a:rPr>
              <a:t>“5 Whys” </a:t>
            </a:r>
            <a:r>
              <a:rPr lang="en-GB" sz="2800" dirty="0" smtClean="0">
                <a:solidFill>
                  <a:srgbClr val="F0EB07"/>
                </a:solidFill>
                <a:latin typeface="Arial Black" pitchFamily="34" charset="0"/>
                <a:ea typeface="+mn-ea"/>
                <a:cs typeface="+mn-cs"/>
              </a:rPr>
              <a:t>technique why </a:t>
            </a:r>
            <a:r>
              <a:rPr lang="en-GB" sz="2800" dirty="0" smtClean="0">
                <a:solidFill>
                  <a:srgbClr val="F0EB07"/>
                </a:solidFill>
                <a:latin typeface="Arial Black" pitchFamily="34" charset="0"/>
                <a:ea typeface="+mn-ea"/>
                <a:cs typeface="+mn-cs"/>
              </a:rPr>
              <a:t>use </a:t>
            </a:r>
            <a:r>
              <a:rPr lang="en-GB" sz="2800" dirty="0" smtClean="0">
                <a:solidFill>
                  <a:srgbClr val="F0EB07"/>
                </a:solidFill>
                <a:latin typeface="Arial Black" pitchFamily="34" charset="0"/>
                <a:ea typeface="+mn-ea"/>
                <a:cs typeface="+mn-cs"/>
              </a:rPr>
              <a:t>BDD</a:t>
            </a:r>
          </a:p>
        </p:txBody>
      </p:sp>
      <p:sp>
        <p:nvSpPr>
          <p:cNvPr id="3" name="Content Placeholder 2"/>
          <p:cNvSpPr>
            <a:spLocks noGrp="1"/>
          </p:cNvSpPr>
          <p:nvPr>
            <p:ph idx="1"/>
          </p:nvPr>
        </p:nvSpPr>
        <p:spPr>
          <a:xfrm>
            <a:off x="518734" y="1361934"/>
            <a:ext cx="9206292" cy="4943616"/>
          </a:xfrm>
        </p:spPr>
        <p:txBody>
          <a:bodyPr>
            <a:normAutofit fontScale="62500" lnSpcReduction="20000"/>
          </a:bodyPr>
          <a:lstStyle/>
          <a:p>
            <a:pPr marL="0" indent="0">
              <a:buNone/>
            </a:pPr>
            <a:r>
              <a:rPr lang="en-GB" sz="2900" b="1" dirty="0" smtClean="0">
                <a:latin typeface="Cambria" pitchFamily="18" charset="0"/>
              </a:rPr>
              <a:t>Q1. </a:t>
            </a:r>
            <a:r>
              <a:rPr lang="en-GB" sz="2900" dirty="0" smtClean="0">
                <a:latin typeface="Cambria" pitchFamily="18" charset="0"/>
              </a:rPr>
              <a:t>Why would we use BDD?</a:t>
            </a:r>
          </a:p>
          <a:p>
            <a:pPr marL="0" indent="0">
              <a:buNone/>
            </a:pPr>
            <a:r>
              <a:rPr lang="en-GB" sz="2900" b="1" dirty="0" smtClean="0">
                <a:latin typeface="Cambria" pitchFamily="18" charset="0"/>
              </a:rPr>
              <a:t>A1.  </a:t>
            </a:r>
            <a:r>
              <a:rPr lang="en-GB" sz="2900" dirty="0" smtClean="0">
                <a:latin typeface="Cambria" pitchFamily="18" charset="0"/>
              </a:rPr>
              <a:t>To get a better quality product</a:t>
            </a:r>
          </a:p>
          <a:p>
            <a:pPr marL="0" indent="0">
              <a:buNone/>
            </a:pPr>
            <a:endParaRPr lang="en-GB" sz="2900" b="1" dirty="0" smtClean="0">
              <a:latin typeface="Cambria" pitchFamily="18" charset="0"/>
            </a:endParaRPr>
          </a:p>
          <a:p>
            <a:pPr marL="0" indent="0">
              <a:buNone/>
            </a:pPr>
            <a:r>
              <a:rPr lang="en-GB" sz="2900" b="1" dirty="0" smtClean="0">
                <a:latin typeface="Cambria" pitchFamily="18" charset="0"/>
              </a:rPr>
              <a:t>Q2. </a:t>
            </a:r>
            <a:r>
              <a:rPr lang="en-GB" sz="2900" dirty="0" smtClean="0">
                <a:latin typeface="Cambria" pitchFamily="18" charset="0"/>
              </a:rPr>
              <a:t>Why?</a:t>
            </a:r>
          </a:p>
          <a:p>
            <a:pPr marL="0" indent="0">
              <a:buNone/>
            </a:pPr>
            <a:r>
              <a:rPr lang="en-GB" sz="2900" b="1" dirty="0" smtClean="0">
                <a:latin typeface="Cambria" pitchFamily="18" charset="0"/>
              </a:rPr>
              <a:t>A2. </a:t>
            </a:r>
            <a:r>
              <a:rPr lang="en-GB" sz="2900" dirty="0" smtClean="0">
                <a:latin typeface="Cambria" pitchFamily="18" charset="0"/>
              </a:rPr>
              <a:t>Because we (often) get it wrong</a:t>
            </a:r>
          </a:p>
          <a:p>
            <a:pPr marL="0" indent="0">
              <a:buNone/>
            </a:pPr>
            <a:endParaRPr lang="en-GB" sz="2900" dirty="0" smtClean="0">
              <a:latin typeface="Cambria" pitchFamily="18" charset="0"/>
            </a:endParaRPr>
          </a:p>
          <a:p>
            <a:pPr marL="0" indent="0">
              <a:buNone/>
            </a:pPr>
            <a:r>
              <a:rPr lang="en-GB" sz="2900" b="1" dirty="0" smtClean="0">
                <a:latin typeface="Cambria" pitchFamily="18" charset="0"/>
              </a:rPr>
              <a:t>Q3. </a:t>
            </a:r>
            <a:r>
              <a:rPr lang="en-GB" sz="2900" dirty="0" smtClean="0">
                <a:latin typeface="Cambria" pitchFamily="18" charset="0"/>
              </a:rPr>
              <a:t>Why?</a:t>
            </a:r>
          </a:p>
          <a:p>
            <a:pPr marL="0" indent="0">
              <a:buNone/>
            </a:pPr>
            <a:r>
              <a:rPr lang="en-GB" sz="2900" b="1" dirty="0" smtClean="0">
                <a:latin typeface="Cambria" pitchFamily="18" charset="0"/>
              </a:rPr>
              <a:t>A3. </a:t>
            </a:r>
            <a:r>
              <a:rPr lang="en-GB" sz="2900" dirty="0" smtClean="0">
                <a:latin typeface="Cambria" pitchFamily="18" charset="0"/>
              </a:rPr>
              <a:t>Because there are misunderstandings, ambiguities or errors in what has been specified and/or what we eventually get in the form of the product</a:t>
            </a:r>
          </a:p>
          <a:p>
            <a:pPr marL="0" indent="0">
              <a:buNone/>
            </a:pPr>
            <a:endParaRPr lang="en-GB" sz="2900" dirty="0" smtClean="0">
              <a:latin typeface="Cambria" pitchFamily="18" charset="0"/>
            </a:endParaRPr>
          </a:p>
          <a:p>
            <a:pPr marL="0" indent="0">
              <a:buNone/>
            </a:pPr>
            <a:r>
              <a:rPr lang="en-GB" sz="2900" b="1" dirty="0" smtClean="0">
                <a:latin typeface="Cambria" pitchFamily="18" charset="0"/>
              </a:rPr>
              <a:t>Q4. </a:t>
            </a:r>
            <a:r>
              <a:rPr lang="en-GB" sz="2900" dirty="0" smtClean="0">
                <a:latin typeface="Cambria" pitchFamily="18" charset="0"/>
              </a:rPr>
              <a:t>Why?</a:t>
            </a:r>
          </a:p>
          <a:p>
            <a:pPr marL="0" indent="0">
              <a:buNone/>
            </a:pPr>
            <a:r>
              <a:rPr lang="en-GB" sz="2900" b="1" dirty="0" smtClean="0">
                <a:latin typeface="Cambria" pitchFamily="18" charset="0"/>
              </a:rPr>
              <a:t>A4. </a:t>
            </a:r>
            <a:r>
              <a:rPr lang="en-GB" sz="2900" dirty="0" smtClean="0">
                <a:latin typeface="Cambria" pitchFamily="18" charset="0"/>
              </a:rPr>
              <a:t>Because the traditional methods for specifying behaviour are not always effective in capturing </a:t>
            </a:r>
          </a:p>
          <a:p>
            <a:pPr marL="0" indent="0">
              <a:buNone/>
            </a:pPr>
            <a:endParaRPr lang="en-GB" sz="2900" b="1" dirty="0" smtClean="0">
              <a:latin typeface="Cambria" pitchFamily="18" charset="0"/>
            </a:endParaRPr>
          </a:p>
          <a:p>
            <a:pPr marL="0" indent="0">
              <a:buNone/>
            </a:pPr>
            <a:r>
              <a:rPr lang="en-GB" sz="2900" b="1" dirty="0" smtClean="0">
                <a:latin typeface="Cambria" pitchFamily="18" charset="0"/>
              </a:rPr>
              <a:t>Q5. </a:t>
            </a:r>
            <a:r>
              <a:rPr lang="en-GB" sz="2900" dirty="0" smtClean="0">
                <a:latin typeface="Cambria" pitchFamily="18" charset="0"/>
              </a:rPr>
              <a:t>Why?</a:t>
            </a:r>
          </a:p>
          <a:p>
            <a:pPr marL="0" indent="0">
              <a:buNone/>
            </a:pPr>
            <a:r>
              <a:rPr lang="en-GB" sz="2900" b="1" dirty="0" smtClean="0">
                <a:latin typeface="Cambria" pitchFamily="18" charset="0"/>
              </a:rPr>
              <a:t>A5.</a:t>
            </a:r>
            <a:r>
              <a:rPr lang="en-GB" sz="2900" dirty="0" smtClean="0">
                <a:latin typeface="Cambria" pitchFamily="18" charset="0"/>
              </a:rPr>
              <a:t> Because they fail to use concrete examples and a </a:t>
            </a:r>
            <a:r>
              <a:rPr lang="en-GB" sz="2900" b="1" dirty="0" smtClean="0">
                <a:latin typeface="Cambria" pitchFamily="18" charset="0"/>
              </a:rPr>
              <a:t>ubiquitous</a:t>
            </a:r>
            <a:r>
              <a:rPr lang="en-GB" sz="2900" dirty="0" smtClean="0">
                <a:latin typeface="Cambria" pitchFamily="18" charset="0"/>
              </a:rPr>
              <a:t> language</a:t>
            </a:r>
          </a:p>
          <a:p>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1313" y="364063"/>
            <a:ext cx="7678737" cy="512133"/>
          </a:xfrm>
          <a:noFill/>
          <a:ln w="9525">
            <a:noFill/>
            <a:miter lim="800000"/>
            <a:headEnd/>
            <a:tailEnd/>
          </a:ln>
          <a:effectLst/>
        </p:spPr>
        <p:txBody>
          <a:bodyPr vert="horz" lIns="80460" tIns="40230" rIns="80460" bIns="40230" rtlCol="0" anchor="ctr">
            <a:spAutoFit/>
          </a:bodyPr>
          <a:lstStyle/>
          <a:p>
            <a:pPr defTabSz="957756"/>
            <a:r>
              <a:rPr lang="en-US" sz="2800" dirty="0" smtClean="0">
                <a:solidFill>
                  <a:schemeClr val="tx1"/>
                </a:solidFill>
                <a:latin typeface="Arial Black" pitchFamily="34" charset="0"/>
                <a:ea typeface="+mn-ea"/>
                <a:cs typeface="+mn-cs"/>
              </a:rPr>
              <a:t>Behat  Test Suite </a:t>
            </a:r>
            <a:r>
              <a:rPr lang="en-US" sz="2800" dirty="0" smtClean="0">
                <a:solidFill>
                  <a:srgbClr val="F0EB07"/>
                </a:solidFill>
                <a:latin typeface="Arial Black" pitchFamily="34" charset="0"/>
                <a:ea typeface="+mn-ea"/>
                <a:cs typeface="+mn-cs"/>
              </a:rPr>
              <a:t>Structure</a:t>
            </a:r>
          </a:p>
        </p:txBody>
      </p:sp>
      <p:pic>
        <p:nvPicPr>
          <p:cNvPr id="2050" name="Picture 2"/>
          <p:cNvPicPr>
            <a:picLocks noGrp="1" noChangeAspect="1" noChangeArrowheads="1"/>
          </p:cNvPicPr>
          <p:nvPr>
            <p:ph idx="1"/>
          </p:nvPr>
        </p:nvPicPr>
        <p:blipFill>
          <a:blip r:embed="rId2" cstate="print"/>
          <a:stretch>
            <a:fillRect/>
          </a:stretch>
        </p:blipFill>
        <p:spPr bwMode="auto">
          <a:xfrm>
            <a:off x="2569369" y="1323834"/>
            <a:ext cx="4767263" cy="488249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1313" y="245000"/>
            <a:ext cx="7793037" cy="512133"/>
          </a:xfrm>
          <a:noFill/>
          <a:ln w="9525">
            <a:noFill/>
            <a:miter lim="800000"/>
            <a:headEnd/>
            <a:tailEnd/>
          </a:ln>
          <a:effectLst/>
        </p:spPr>
        <p:txBody>
          <a:bodyPr vert="horz" wrap="square" lIns="80460" tIns="40230" rIns="80460" bIns="40230" rtlCol="0" anchor="ctr">
            <a:spAutoFit/>
          </a:bodyPr>
          <a:lstStyle/>
          <a:p>
            <a:pPr defTabSz="957756"/>
            <a:r>
              <a:rPr lang="en-US" sz="2800" dirty="0" smtClean="0">
                <a:solidFill>
                  <a:schemeClr val="tx1"/>
                </a:solidFill>
                <a:latin typeface="Arial Black" pitchFamily="34" charset="0"/>
                <a:ea typeface="+mn-ea"/>
                <a:cs typeface="+mn-cs"/>
              </a:rPr>
              <a:t>What </a:t>
            </a:r>
            <a:r>
              <a:rPr lang="en-US" sz="2800" dirty="0" smtClean="0">
                <a:solidFill>
                  <a:srgbClr val="F0EB07"/>
                </a:solidFill>
                <a:latin typeface="Arial Black" pitchFamily="34" charset="0"/>
                <a:ea typeface="+mn-ea"/>
                <a:cs typeface="+mn-cs"/>
              </a:rPr>
              <a:t>Gherkin</a:t>
            </a:r>
            <a:r>
              <a:rPr lang="en-US" sz="2800" dirty="0" smtClean="0">
                <a:solidFill>
                  <a:schemeClr val="tx1"/>
                </a:solidFill>
                <a:latin typeface="Arial Black" pitchFamily="34" charset="0"/>
                <a:ea typeface="+mn-ea"/>
                <a:cs typeface="+mn-cs"/>
              </a:rPr>
              <a:t> for ?</a:t>
            </a:r>
            <a:endParaRPr lang="en-US" sz="2800" dirty="0">
              <a:solidFill>
                <a:schemeClr val="tx1"/>
              </a:solidFill>
              <a:latin typeface="Arial Black" pitchFamily="34" charset="0"/>
              <a:ea typeface="+mn-ea"/>
              <a:cs typeface="+mn-cs"/>
            </a:endParaRPr>
          </a:p>
        </p:txBody>
      </p:sp>
      <p:sp>
        <p:nvSpPr>
          <p:cNvPr id="3" name="Content Placeholder 2"/>
          <p:cNvSpPr>
            <a:spLocks noGrp="1"/>
          </p:cNvSpPr>
          <p:nvPr>
            <p:ph idx="1"/>
          </p:nvPr>
        </p:nvSpPr>
        <p:spPr>
          <a:xfrm>
            <a:off x="409433" y="1924334"/>
            <a:ext cx="9155255" cy="3398293"/>
          </a:xfrm>
        </p:spPr>
        <p:txBody>
          <a:bodyPr>
            <a:normAutofit/>
          </a:bodyPr>
          <a:lstStyle/>
          <a:p>
            <a:r>
              <a:rPr lang="en-US" dirty="0" smtClean="0">
                <a:latin typeface="Cambria" pitchFamily="18" charset="0"/>
              </a:rPr>
              <a:t>When we build software for stakeholders or client, it  is difficult to figure out exactly what they want us to build</a:t>
            </a:r>
            <a:r>
              <a:rPr lang="en-US" dirty="0" smtClean="0">
                <a:latin typeface="Cambria" pitchFamily="18" charset="0"/>
              </a:rPr>
              <a:t>.</a:t>
            </a:r>
          </a:p>
          <a:p>
            <a:endParaRPr lang="en-US" dirty="0" smtClean="0">
              <a:latin typeface="Cambria" pitchFamily="18" charset="0"/>
            </a:endParaRPr>
          </a:p>
          <a:p>
            <a:r>
              <a:rPr lang="en-US" dirty="0" smtClean="0">
                <a:latin typeface="Cambria" pitchFamily="18" charset="0"/>
              </a:rPr>
              <a:t>We’ve all worked on projects where, because of a misunderstanding, code that we’d worked hard on for several days or more had to be thrown away</a:t>
            </a:r>
            <a:r>
              <a:rPr lang="en-US" dirty="0" smtClean="0">
                <a:latin typeface="Cambria" pitchFamily="18" charset="0"/>
              </a:rPr>
              <a:t>.</a:t>
            </a:r>
          </a:p>
          <a:p>
            <a:pPr>
              <a:buNone/>
            </a:pPr>
            <a:endParaRPr lang="en-US" dirty="0" smtClean="0">
              <a:latin typeface="Cambria" pitchFamily="18" charset="0"/>
            </a:endParaRPr>
          </a:p>
          <a:p>
            <a:r>
              <a:rPr lang="en-US" dirty="0" smtClean="0">
                <a:latin typeface="Cambria" pitchFamily="18" charset="0"/>
              </a:rPr>
              <a:t> Better communication between developers and stakeholders is essential to help avoid this kind of wasted time.</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extBox 2"/>
          <p:cNvSpPr txBox="1">
            <a:spLocks noChangeArrowheads="1"/>
          </p:cNvSpPr>
          <p:nvPr/>
        </p:nvSpPr>
        <p:spPr bwMode="auto">
          <a:xfrm>
            <a:off x="376177" y="231385"/>
            <a:ext cx="8468342" cy="11082753"/>
          </a:xfrm>
          <a:prstGeom prst="rect">
            <a:avLst/>
          </a:prstGeom>
          <a:noFill/>
          <a:ln w="9525">
            <a:noFill/>
            <a:miter lim="800000"/>
            <a:headEnd/>
            <a:tailEnd/>
          </a:ln>
        </p:spPr>
        <p:txBody>
          <a:bodyPr lIns="48491" tIns="24245" rIns="48491" bIns="24245">
            <a:spAutoFit/>
          </a:bodyPr>
          <a:lstStyle/>
          <a:p>
            <a:r>
              <a:rPr lang="en-US" sz="2800" b="1" dirty="0">
                <a:latin typeface="Arial Black" pitchFamily="34" charset="0"/>
              </a:rPr>
              <a:t>Building </a:t>
            </a:r>
            <a:r>
              <a:rPr lang="en-US" sz="2800" b="1" dirty="0">
                <a:solidFill>
                  <a:srgbClr val="E1E105"/>
                </a:solidFill>
                <a:latin typeface="Arial Black" pitchFamily="34" charset="0"/>
              </a:rPr>
              <a:t>one</a:t>
            </a:r>
            <a:r>
              <a:rPr lang="en-US" sz="2800" b="1" dirty="0">
                <a:latin typeface="Arial Black" pitchFamily="34" charset="0"/>
              </a:rPr>
              <a:t> Vocabulary :</a:t>
            </a: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endParaRPr lang="en-US" dirty="0">
              <a:latin typeface="Arial Black" pitchFamily="34" charset="0"/>
            </a:endParaRPr>
          </a:p>
          <a:p>
            <a:r>
              <a:rPr lang="en-US" sz="2000" b="1" dirty="0">
                <a:latin typeface="Arial Black" pitchFamily="34" charset="0"/>
              </a:rPr>
              <a:t>eliminating some of ambiguity and miscommunication</a:t>
            </a:r>
          </a:p>
        </p:txBody>
      </p:sp>
      <p:pic>
        <p:nvPicPr>
          <p:cNvPr id="5123" name="Picture 2" descr="C:\Users\nirpatil\AppData\Local\Microsoft\Windows\Temporary Internet Files\Content.IE5\XSXJNRW5\MC900326288[1].wmf"/>
          <p:cNvPicPr>
            <a:picLocks noChangeAspect="1" noChangeArrowheads="1"/>
          </p:cNvPicPr>
          <p:nvPr/>
        </p:nvPicPr>
        <p:blipFill>
          <a:blip r:embed="rId2" cstate="print"/>
          <a:srcRect/>
          <a:stretch>
            <a:fillRect/>
          </a:stretch>
        </p:blipFill>
        <p:spPr bwMode="auto">
          <a:xfrm>
            <a:off x="3706418" y="2940967"/>
            <a:ext cx="1001398" cy="509369"/>
          </a:xfrm>
          <a:prstGeom prst="rect">
            <a:avLst/>
          </a:prstGeom>
          <a:noFill/>
          <a:ln w="9525">
            <a:noFill/>
            <a:miter lim="800000"/>
            <a:headEnd/>
            <a:tailEnd/>
          </a:ln>
        </p:spPr>
      </p:pic>
      <p:sp>
        <p:nvSpPr>
          <p:cNvPr id="5124" name="TextBox 4"/>
          <p:cNvSpPr txBox="1">
            <a:spLocks noChangeArrowheads="1"/>
          </p:cNvSpPr>
          <p:nvPr/>
        </p:nvSpPr>
        <p:spPr bwMode="auto">
          <a:xfrm rot="2900421">
            <a:off x="2001846" y="1726461"/>
            <a:ext cx="1816272" cy="356740"/>
          </a:xfrm>
          <a:prstGeom prst="rect">
            <a:avLst/>
          </a:prstGeom>
          <a:noFill/>
          <a:ln w="9525">
            <a:noFill/>
            <a:miter lim="800000"/>
            <a:headEnd/>
            <a:tailEnd/>
          </a:ln>
        </p:spPr>
        <p:txBody>
          <a:bodyPr wrap="square" lIns="48491" tIns="24245" rIns="48491" bIns="24245">
            <a:spAutoFit/>
          </a:bodyPr>
          <a:lstStyle/>
          <a:p>
            <a:r>
              <a:rPr lang="en-US" sz="2000" b="1" dirty="0">
                <a:latin typeface="Arial Black" pitchFamily="34" charset="0"/>
              </a:rPr>
              <a:t>for Business</a:t>
            </a:r>
          </a:p>
        </p:txBody>
      </p:sp>
      <p:sp>
        <p:nvSpPr>
          <p:cNvPr id="5125" name="TextBox 5"/>
          <p:cNvSpPr txBox="1">
            <a:spLocks noChangeArrowheads="1"/>
          </p:cNvSpPr>
          <p:nvPr/>
        </p:nvSpPr>
        <p:spPr bwMode="auto">
          <a:xfrm rot="-2547109">
            <a:off x="1956645" y="3946393"/>
            <a:ext cx="2021081" cy="356740"/>
          </a:xfrm>
          <a:prstGeom prst="rect">
            <a:avLst/>
          </a:prstGeom>
          <a:noFill/>
          <a:ln w="9525">
            <a:noFill/>
            <a:miter lim="800000"/>
            <a:headEnd/>
            <a:tailEnd/>
          </a:ln>
        </p:spPr>
        <p:txBody>
          <a:bodyPr lIns="48491" tIns="24245" rIns="48491" bIns="24245">
            <a:spAutoFit/>
          </a:bodyPr>
          <a:lstStyle/>
          <a:p>
            <a:r>
              <a:rPr lang="en-US" sz="2000" b="1" dirty="0">
                <a:latin typeface="Arial Black" pitchFamily="34" charset="0"/>
              </a:rPr>
              <a:t>for Testers</a:t>
            </a:r>
          </a:p>
        </p:txBody>
      </p:sp>
      <p:sp>
        <p:nvSpPr>
          <p:cNvPr id="5126" name="TextBox 6"/>
          <p:cNvSpPr txBox="1">
            <a:spLocks noChangeArrowheads="1"/>
          </p:cNvSpPr>
          <p:nvPr/>
        </p:nvSpPr>
        <p:spPr bwMode="auto">
          <a:xfrm rot="-2467718">
            <a:off x="4629941" y="1687574"/>
            <a:ext cx="2283187" cy="356740"/>
          </a:xfrm>
          <a:prstGeom prst="rect">
            <a:avLst/>
          </a:prstGeom>
          <a:noFill/>
          <a:ln w="9525">
            <a:noFill/>
            <a:miter lim="800000"/>
            <a:headEnd/>
            <a:tailEnd/>
          </a:ln>
        </p:spPr>
        <p:txBody>
          <a:bodyPr lIns="48491" tIns="24245" rIns="48491" bIns="24245">
            <a:spAutoFit/>
          </a:bodyPr>
          <a:lstStyle/>
          <a:p>
            <a:r>
              <a:rPr lang="en-US" sz="2000" b="1" dirty="0">
                <a:latin typeface="Arial Black" pitchFamily="34" charset="0"/>
              </a:rPr>
              <a:t>for analyst</a:t>
            </a:r>
          </a:p>
        </p:txBody>
      </p:sp>
      <p:sp>
        <p:nvSpPr>
          <p:cNvPr id="5127" name="TextBox 7"/>
          <p:cNvSpPr txBox="1">
            <a:spLocks noChangeArrowheads="1"/>
          </p:cNvSpPr>
          <p:nvPr/>
        </p:nvSpPr>
        <p:spPr bwMode="auto">
          <a:xfrm rot="2776558">
            <a:off x="4320226" y="4190230"/>
            <a:ext cx="2634417" cy="356740"/>
          </a:xfrm>
          <a:prstGeom prst="rect">
            <a:avLst/>
          </a:prstGeom>
          <a:noFill/>
          <a:ln w="9525">
            <a:noFill/>
            <a:miter lim="800000"/>
            <a:headEnd/>
            <a:tailEnd/>
          </a:ln>
        </p:spPr>
        <p:txBody>
          <a:bodyPr lIns="48491" tIns="24245" rIns="48491" bIns="24245">
            <a:spAutoFit/>
          </a:bodyPr>
          <a:lstStyle/>
          <a:p>
            <a:r>
              <a:rPr lang="en-US" sz="2000" b="1" dirty="0">
                <a:latin typeface="Arial Black" pitchFamily="34" charset="0"/>
              </a:rPr>
              <a:t>for Developers</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1313" y="245000"/>
            <a:ext cx="7773987" cy="512133"/>
          </a:xfrm>
          <a:noFill/>
          <a:ln w="9525">
            <a:noFill/>
            <a:miter lim="800000"/>
            <a:headEnd/>
            <a:tailEnd/>
          </a:ln>
        </p:spPr>
        <p:txBody>
          <a:bodyPr wrap="square" lIns="80460" tIns="40230" rIns="80460" bIns="40230">
            <a:spAutoFit/>
          </a:bodyPr>
          <a:lstStyle/>
          <a:p>
            <a:pPr defTabSz="957756"/>
            <a:r>
              <a:rPr lang="en-US" sz="2800" dirty="0" smtClean="0">
                <a:solidFill>
                  <a:schemeClr val="tx1"/>
                </a:solidFill>
                <a:latin typeface="Arial Black" pitchFamily="34" charset="0"/>
                <a:ea typeface="+mn-ea"/>
                <a:cs typeface="+mn-cs"/>
              </a:rPr>
              <a:t>A</a:t>
            </a:r>
            <a:r>
              <a:rPr lang="en-US" sz="2800" dirty="0" smtClean="0">
                <a:solidFill>
                  <a:srgbClr val="F0EB07"/>
                </a:solidFill>
                <a:latin typeface="Arial Black" pitchFamily="34" charset="0"/>
                <a:ea typeface="+mn-ea"/>
                <a:cs typeface="+mn-cs"/>
              </a:rPr>
              <a:t> Gherkin </a:t>
            </a:r>
            <a:r>
              <a:rPr lang="en-US" sz="2800" dirty="0" smtClean="0">
                <a:solidFill>
                  <a:schemeClr val="tx1"/>
                </a:solidFill>
                <a:latin typeface="Arial Black" pitchFamily="34" charset="0"/>
                <a:ea typeface="+mn-ea"/>
                <a:cs typeface="+mn-cs"/>
              </a:rPr>
              <a:t>source </a:t>
            </a:r>
            <a:r>
              <a:rPr lang="en-US" sz="2800" dirty="0" smtClean="0">
                <a:solidFill>
                  <a:schemeClr val="tx1"/>
                </a:solidFill>
                <a:latin typeface="Arial Black" pitchFamily="34" charset="0"/>
                <a:ea typeface="+mn-ea"/>
                <a:cs typeface="+mn-cs"/>
              </a:rPr>
              <a:t>file </a:t>
            </a:r>
            <a:r>
              <a:rPr lang="en-US" sz="2800" dirty="0" smtClean="0">
                <a:solidFill>
                  <a:schemeClr val="tx1"/>
                </a:solidFill>
                <a:latin typeface="Arial Black" pitchFamily="34" charset="0"/>
                <a:ea typeface="+mn-ea"/>
                <a:cs typeface="+mn-cs"/>
              </a:rPr>
              <a:t>looks </a:t>
            </a:r>
            <a:r>
              <a:rPr lang="en-US" sz="2800" dirty="0" smtClean="0">
                <a:solidFill>
                  <a:schemeClr val="tx1"/>
                </a:solidFill>
                <a:latin typeface="Arial Black" pitchFamily="34" charset="0"/>
                <a:ea typeface="+mn-ea"/>
                <a:cs typeface="+mn-cs"/>
              </a:rPr>
              <a:t>like</a:t>
            </a:r>
            <a:r>
              <a:rPr lang="en-US" sz="2800" dirty="0" smtClean="0">
                <a:solidFill>
                  <a:srgbClr val="F0EB07"/>
                </a:solidFill>
                <a:latin typeface="Arial Black" pitchFamily="34" charset="0"/>
                <a:ea typeface="+mn-ea"/>
                <a:cs typeface="+mn-cs"/>
              </a:rPr>
              <a:t> </a:t>
            </a:r>
            <a:endParaRPr lang="en-US" sz="2800" dirty="0">
              <a:solidFill>
                <a:srgbClr val="F0EB07"/>
              </a:solidFill>
              <a:latin typeface="Arial Black" pitchFamily="34" charset="0"/>
              <a:ea typeface="+mn-ea"/>
              <a:cs typeface="+mn-cs"/>
            </a:endParaRPr>
          </a:p>
        </p:txBody>
      </p:sp>
      <p:sp>
        <p:nvSpPr>
          <p:cNvPr id="3" name="Content Placeholder 2"/>
          <p:cNvSpPr>
            <a:spLocks noGrp="1"/>
          </p:cNvSpPr>
          <p:nvPr>
            <p:ph idx="1"/>
          </p:nvPr>
        </p:nvSpPr>
        <p:spPr>
          <a:xfrm>
            <a:off x="368490" y="1610437"/>
            <a:ext cx="9042210" cy="4885897"/>
          </a:xfrm>
        </p:spPr>
        <p:txBody>
          <a:bodyPr>
            <a:normAutofit/>
          </a:bodyPr>
          <a:lstStyle/>
          <a:p>
            <a:pPr latinLnBrk="1">
              <a:buNone/>
            </a:pPr>
            <a:r>
              <a:rPr lang="en-US" b="1" dirty="0" smtClean="0">
                <a:latin typeface="Cambria" pitchFamily="18" charset="0"/>
              </a:rPr>
              <a:t>Feature: {custom title}</a:t>
            </a:r>
          </a:p>
          <a:p>
            <a:pPr latinLnBrk="1">
              <a:buNone/>
            </a:pPr>
            <a:r>
              <a:rPr lang="en-US" dirty="0" smtClean="0">
                <a:latin typeface="Cambria" pitchFamily="18" charset="0"/>
              </a:rPr>
              <a:t>    In order to {benefit/value of the feature}</a:t>
            </a:r>
          </a:p>
          <a:p>
            <a:pPr latinLnBrk="1">
              <a:buNone/>
            </a:pPr>
            <a:r>
              <a:rPr lang="en-US" dirty="0" smtClean="0">
                <a:latin typeface="Cambria" pitchFamily="18" charset="0"/>
              </a:rPr>
              <a:t>    As a {user/role who will benefit from this feature}</a:t>
            </a:r>
          </a:p>
          <a:p>
            <a:pPr latinLnBrk="1">
              <a:buNone/>
            </a:pPr>
            <a:r>
              <a:rPr lang="en-US" dirty="0" smtClean="0">
                <a:latin typeface="Cambria" pitchFamily="18" charset="0"/>
              </a:rPr>
              <a:t>    I need to {short feature description}</a:t>
            </a:r>
          </a:p>
          <a:p>
            <a:pPr latinLnBrk="1">
              <a:buNone/>
            </a:pPr>
            <a:endParaRPr lang="en-US" dirty="0" smtClean="0">
              <a:latin typeface="Cambria" pitchFamily="18" charset="0"/>
            </a:endParaRPr>
          </a:p>
          <a:p>
            <a:pPr latinLnBrk="1">
              <a:buNone/>
            </a:pPr>
            <a:r>
              <a:rPr lang="en-US" b="1" dirty="0" smtClean="0">
                <a:latin typeface="Cambria" pitchFamily="18" charset="0"/>
              </a:rPr>
              <a:t>Scenario: Some determinable business situation </a:t>
            </a:r>
          </a:p>
          <a:p>
            <a:pPr latinLnBrk="1">
              <a:buNone/>
            </a:pPr>
            <a:r>
              <a:rPr lang="en-US" dirty="0" smtClean="0">
                <a:latin typeface="Cambria" pitchFamily="18" charset="0"/>
              </a:rPr>
              <a:t> Given some precondition</a:t>
            </a:r>
          </a:p>
          <a:p>
            <a:pPr latinLnBrk="1">
              <a:buNone/>
            </a:pPr>
            <a:r>
              <a:rPr lang="en-US" dirty="0" smtClean="0">
                <a:latin typeface="Cambria" pitchFamily="18" charset="0"/>
              </a:rPr>
              <a:t>  And some other precondition</a:t>
            </a:r>
          </a:p>
          <a:p>
            <a:pPr latinLnBrk="1">
              <a:buNone/>
            </a:pPr>
            <a:r>
              <a:rPr lang="en-US" dirty="0" smtClean="0">
                <a:latin typeface="Cambria" pitchFamily="18" charset="0"/>
              </a:rPr>
              <a:t> When some action by the actor </a:t>
            </a:r>
          </a:p>
          <a:p>
            <a:pPr latinLnBrk="1">
              <a:buNone/>
            </a:pPr>
            <a:r>
              <a:rPr lang="en-US" dirty="0" smtClean="0">
                <a:latin typeface="Cambria" pitchFamily="18" charset="0"/>
              </a:rPr>
              <a:t> And some other action And yet another action </a:t>
            </a:r>
          </a:p>
          <a:p>
            <a:pPr latinLnBrk="1">
              <a:buNone/>
            </a:pPr>
            <a:r>
              <a:rPr lang="en-US" dirty="0" smtClean="0">
                <a:latin typeface="Cambria" pitchFamily="18" charset="0"/>
              </a:rPr>
              <a:t> Then some testable outcome is achieved </a:t>
            </a:r>
          </a:p>
          <a:p>
            <a:pPr latinLnBrk="1">
              <a:buNone/>
            </a:pPr>
            <a:r>
              <a:rPr lang="en-US" dirty="0" smtClean="0">
                <a:latin typeface="Cambria" pitchFamily="18" charset="0"/>
              </a:rPr>
              <a:t>And something else we can check happens too</a:t>
            </a:r>
          </a:p>
          <a:p>
            <a:endParaRPr 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1313" y="245000"/>
            <a:ext cx="9564687" cy="512133"/>
          </a:xfrm>
          <a:noFill/>
          <a:ln w="9525">
            <a:noFill/>
            <a:miter lim="800000"/>
            <a:headEnd/>
            <a:tailEnd/>
          </a:ln>
          <a:effectLst/>
        </p:spPr>
        <p:txBody>
          <a:bodyPr vert="horz" wrap="square" lIns="80460" tIns="40230" rIns="80460" bIns="40230" rtlCol="0" anchor="ctr">
            <a:spAutoFit/>
          </a:bodyPr>
          <a:lstStyle/>
          <a:p>
            <a:pPr defTabSz="957756"/>
            <a:r>
              <a:rPr lang="en-US" sz="2800" dirty="0" smtClean="0">
                <a:solidFill>
                  <a:schemeClr val="tx1"/>
                </a:solidFill>
                <a:latin typeface="Arial Black" pitchFamily="34" charset="0"/>
                <a:ea typeface="+mn-ea"/>
                <a:cs typeface="+mn-cs"/>
              </a:rPr>
              <a:t>What </a:t>
            </a:r>
            <a:r>
              <a:rPr lang="en-US" sz="2800" dirty="0" smtClean="0">
                <a:solidFill>
                  <a:schemeClr val="tx1"/>
                </a:solidFill>
                <a:latin typeface="Arial Black" pitchFamily="34" charset="0"/>
                <a:ea typeface="+mn-ea"/>
                <a:cs typeface="+mn-cs"/>
              </a:rPr>
              <a:t>is </a:t>
            </a:r>
            <a:r>
              <a:rPr lang="en-US" sz="2800" dirty="0" smtClean="0">
                <a:solidFill>
                  <a:srgbClr val="F0EB07"/>
                </a:solidFill>
                <a:latin typeface="Arial Black" pitchFamily="34" charset="0"/>
                <a:ea typeface="+mn-ea"/>
                <a:cs typeface="+mn-cs"/>
              </a:rPr>
              <a:t>behat</a:t>
            </a:r>
            <a:r>
              <a:rPr lang="en-US" sz="2800" dirty="0" smtClean="0">
                <a:solidFill>
                  <a:schemeClr val="tx1"/>
                </a:solidFill>
                <a:latin typeface="Arial Black" pitchFamily="34" charset="0"/>
                <a:ea typeface="+mn-ea"/>
                <a:cs typeface="+mn-cs"/>
              </a:rPr>
              <a:t>?</a:t>
            </a:r>
            <a:endParaRPr lang="en-US" sz="2800" dirty="0">
              <a:solidFill>
                <a:schemeClr val="tx1"/>
              </a:solidFill>
              <a:latin typeface="Arial Black" pitchFamily="34" charset="0"/>
              <a:ea typeface="+mn-ea"/>
              <a:cs typeface="+mn-cs"/>
            </a:endParaRPr>
          </a:p>
        </p:txBody>
      </p:sp>
      <p:sp>
        <p:nvSpPr>
          <p:cNvPr id="4" name="TextBox 3"/>
          <p:cNvSpPr txBox="1"/>
          <p:nvPr/>
        </p:nvSpPr>
        <p:spPr>
          <a:xfrm>
            <a:off x="276225" y="1428750"/>
            <a:ext cx="9382125" cy="4616648"/>
          </a:xfrm>
          <a:prstGeom prst="rect">
            <a:avLst/>
          </a:prstGeom>
          <a:noFill/>
        </p:spPr>
        <p:txBody>
          <a:bodyPr wrap="square" rtlCol="0">
            <a:spAutoFit/>
          </a:bodyPr>
          <a:lstStyle/>
          <a:p>
            <a:r>
              <a:rPr lang="en-US" sz="1400" dirty="0" smtClean="0">
                <a:latin typeface="Cambria" pitchFamily="18" charset="0"/>
              </a:rPr>
              <a:t>Behat is an open source behavior-driven development framework for PHP 5.3 and 5.4.</a:t>
            </a:r>
            <a:endParaRPr lang="en-US" sz="1400" dirty="0" smtClean="0">
              <a:latin typeface="Cambria" pitchFamily="18" charset="0"/>
            </a:endParaRPr>
          </a:p>
          <a:p>
            <a:endParaRPr lang="en-US" sz="1400" dirty="0" smtClean="0">
              <a:latin typeface="Cambria" pitchFamily="18" charset="0"/>
            </a:endParaRPr>
          </a:p>
          <a:p>
            <a:endParaRPr lang="en-US" sz="1400" dirty="0" smtClean="0">
              <a:latin typeface="Cambria" pitchFamily="18" charset="0"/>
            </a:endParaRPr>
          </a:p>
          <a:p>
            <a:pPr>
              <a:buFont typeface="Arial" pitchFamily="34" charset="0"/>
              <a:buChar char="•"/>
            </a:pPr>
            <a:r>
              <a:rPr lang="en-US" sz="1400" dirty="0" smtClean="0">
                <a:latin typeface="Cambria" pitchFamily="18" charset="0"/>
              </a:rPr>
              <a:t> A testing framework written in PHP</a:t>
            </a:r>
          </a:p>
          <a:p>
            <a:pPr>
              <a:buFont typeface="Arial" pitchFamily="34" charset="0"/>
              <a:buChar char="•"/>
            </a:pPr>
            <a:endParaRPr lang="en-US" sz="1400" dirty="0" smtClean="0">
              <a:latin typeface="Cambria" pitchFamily="18" charset="0"/>
            </a:endParaRPr>
          </a:p>
          <a:p>
            <a:pPr>
              <a:buFont typeface="Arial" pitchFamily="34" charset="0"/>
              <a:buChar char="•"/>
            </a:pPr>
            <a:r>
              <a:rPr lang="en-US" sz="1400" dirty="0" smtClean="0">
                <a:latin typeface="Cambria" pitchFamily="18" charset="0"/>
              </a:rPr>
              <a:t>Accepts tests written in business domain language</a:t>
            </a:r>
          </a:p>
          <a:p>
            <a:pPr>
              <a:buFont typeface="Arial" pitchFamily="34" charset="0"/>
              <a:buChar char="•"/>
            </a:pPr>
            <a:endParaRPr lang="en-US" sz="1400" dirty="0" smtClean="0">
              <a:latin typeface="Cambria" pitchFamily="18" charset="0"/>
            </a:endParaRPr>
          </a:p>
          <a:p>
            <a:pPr>
              <a:buFont typeface="Arial" pitchFamily="34" charset="0"/>
              <a:buChar char="•"/>
            </a:pPr>
            <a:r>
              <a:rPr lang="en-US" sz="1400" dirty="0" smtClean="0">
                <a:latin typeface="Cambria" pitchFamily="18" charset="0"/>
              </a:rPr>
              <a:t>Executes those tests on your PHP based application</a:t>
            </a:r>
          </a:p>
          <a:p>
            <a:pPr>
              <a:buFont typeface="Arial" pitchFamily="34" charset="0"/>
              <a:buChar char="•"/>
            </a:pPr>
            <a:endParaRPr lang="en-US" sz="1400" dirty="0" smtClean="0">
              <a:latin typeface="Cambria" pitchFamily="18" charset="0"/>
            </a:endParaRPr>
          </a:p>
          <a:p>
            <a:pPr>
              <a:buFont typeface="Arial" pitchFamily="34" charset="0"/>
              <a:buChar char="•"/>
            </a:pPr>
            <a:r>
              <a:rPr lang="en-US" sz="1400" dirty="0" smtClean="0">
                <a:latin typeface="Cambria" pitchFamily="18" charset="0"/>
              </a:rPr>
              <a:t>Designed to test behavior of your application </a:t>
            </a:r>
          </a:p>
          <a:p>
            <a:endParaRPr lang="en-US" sz="1400" dirty="0" smtClean="0">
              <a:latin typeface="Cambria" pitchFamily="18" charset="0"/>
            </a:endParaRPr>
          </a:p>
          <a:p>
            <a:endParaRPr lang="en-US" sz="1400" dirty="0" smtClean="0">
              <a:latin typeface="Cambria" pitchFamily="18" charset="0"/>
            </a:endParaRPr>
          </a:p>
          <a:p>
            <a:r>
              <a:rPr lang="en-US" sz="1400" dirty="0" smtClean="0">
                <a:latin typeface="Cambria" pitchFamily="18" charset="0"/>
              </a:rPr>
              <a:t>Behat does one simple thing:</a:t>
            </a:r>
          </a:p>
          <a:p>
            <a:endParaRPr lang="en-US" sz="1400" dirty="0" smtClean="0">
              <a:latin typeface="Cambria" pitchFamily="18" charset="0"/>
            </a:endParaRPr>
          </a:p>
          <a:p>
            <a:r>
              <a:rPr lang="en-US" sz="1400" dirty="0" smtClean="0">
                <a:latin typeface="Cambria" pitchFamily="18" charset="0"/>
              </a:rPr>
              <a:t>It maps Each Step to PHP callback </a:t>
            </a:r>
          </a:p>
          <a:p>
            <a:endParaRPr lang="en-US" sz="1400" dirty="0" smtClean="0">
              <a:latin typeface="Cambria" pitchFamily="18" charset="0"/>
            </a:endParaRPr>
          </a:p>
          <a:p>
            <a:r>
              <a:rPr lang="en-US" sz="1400" dirty="0" smtClean="0">
                <a:latin typeface="Cambria" pitchFamily="18" charset="0"/>
              </a:rPr>
              <a:t>Behat “executes” your scenarios</a:t>
            </a:r>
            <a:r>
              <a:rPr lang="en-US" sz="1400" dirty="0" smtClean="0">
                <a:latin typeface="Cambria" pitchFamily="18" charset="0"/>
              </a:rPr>
              <a:t>, reading each  step and calling the function associated with it</a:t>
            </a:r>
          </a:p>
          <a:p>
            <a:r>
              <a:rPr lang="en-US" sz="1400" dirty="0" smtClean="0">
                <a:latin typeface="Cambria" pitchFamily="18" charset="0"/>
              </a:rPr>
              <a:t>Each line in scenario is called a “Step”</a:t>
            </a:r>
          </a:p>
          <a:p>
            <a:endParaRPr lang="en-US" sz="1400" dirty="0" smtClean="0">
              <a:latin typeface="Cambria" pitchFamily="18" charset="0"/>
            </a:endParaRPr>
          </a:p>
          <a:p>
            <a:endParaRPr lang="en-US" sz="1400" dirty="0" smtClean="0">
              <a:latin typeface="Cambria" pitchFamily="18" charset="0"/>
            </a:endParaRPr>
          </a:p>
          <a:p>
            <a:endParaRPr lang="en-US" sz="1400" dirty="0" smtClean="0">
              <a:latin typeface="Cambria" pitchFamily="18"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Testing (External)">
  <a:themeElements>
    <a:clrScheme name="Testing-New">
      <a:dk1>
        <a:srgbClr val="1A1A1A"/>
      </a:dk1>
      <a:lt1>
        <a:srgbClr val="FFFFFF"/>
      </a:lt1>
      <a:dk2>
        <a:srgbClr val="CAC1BE"/>
      </a:dk2>
      <a:lt2>
        <a:srgbClr val="FFFFFF"/>
      </a:lt2>
      <a:accent1>
        <a:srgbClr val="004079"/>
      </a:accent1>
      <a:accent2>
        <a:srgbClr val="FF4019"/>
      </a:accent2>
      <a:accent3>
        <a:srgbClr val="0098CC"/>
      </a:accent3>
      <a:accent4>
        <a:srgbClr val="FECC26"/>
      </a:accent4>
      <a:accent5>
        <a:srgbClr val="406418"/>
      </a:accent5>
      <a:accent6>
        <a:srgbClr val="696A6D"/>
      </a:accent6>
      <a:hlink>
        <a:srgbClr val="D22300"/>
      </a:hlink>
      <a:folHlink>
        <a:srgbClr val="8ED244"/>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accent3"/>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sz="1600" b="1" i="0" u="none" strike="noStrike" cap="none" normalizeH="0" baseline="0" dirty="0" smtClean="0">
            <a:ln>
              <a:noFill/>
            </a:ln>
            <a:solidFill>
              <a:schemeClr val="tx1"/>
            </a:solidFill>
            <a:effectLst/>
            <a:latin typeface="+mn-lt"/>
            <a:cs typeface="Arial" charset="0"/>
          </a:defRPr>
        </a:defPPr>
      </a:lstStyle>
    </a:spDef>
    <a:lnDef>
      <a:spPr bwMode="auto">
        <a:solidFill>
          <a:schemeClr val="accent6"/>
        </a:solidFill>
        <a:ln w="6350" cap="flat" cmpd="sng" algn="ctr">
          <a:solidFill>
            <a:schemeClr val="accent3"/>
          </a:solidFill>
          <a:prstDash val="solid"/>
          <a:round/>
          <a:headEnd type="none" w="med" len="med"/>
          <a:tailEnd type="none" w="med" len="med"/>
        </a:ln>
        <a:effectLst/>
      </a:spPr>
      <a:bodyPr/>
      <a:lst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Testing (External)_Closing slides">
  <a:themeElements>
    <a:clrScheme name="Testing-New">
      <a:dk1>
        <a:srgbClr val="1A1A1A"/>
      </a:dk1>
      <a:lt1>
        <a:srgbClr val="FFFFFF"/>
      </a:lt1>
      <a:dk2>
        <a:srgbClr val="CAC1BE"/>
      </a:dk2>
      <a:lt2>
        <a:srgbClr val="FFFFFF"/>
      </a:lt2>
      <a:accent1>
        <a:srgbClr val="004079"/>
      </a:accent1>
      <a:accent2>
        <a:srgbClr val="FF4019"/>
      </a:accent2>
      <a:accent3>
        <a:srgbClr val="0098CC"/>
      </a:accent3>
      <a:accent4>
        <a:srgbClr val="FECC26"/>
      </a:accent4>
      <a:accent5>
        <a:srgbClr val="406418"/>
      </a:accent5>
      <a:accent6>
        <a:srgbClr val="696A6D"/>
      </a:accent6>
      <a:hlink>
        <a:srgbClr val="D22300"/>
      </a:hlink>
      <a:folHlink>
        <a:srgbClr val="8ED24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sting (External)_Section break">
  <a:themeElements>
    <a:clrScheme name="Testing-New">
      <a:dk1>
        <a:srgbClr val="1A1A1A"/>
      </a:dk1>
      <a:lt1>
        <a:srgbClr val="FFFFFF"/>
      </a:lt1>
      <a:dk2>
        <a:srgbClr val="CAC1BE"/>
      </a:dk2>
      <a:lt2>
        <a:srgbClr val="FFFFFF"/>
      </a:lt2>
      <a:accent1>
        <a:srgbClr val="004079"/>
      </a:accent1>
      <a:accent2>
        <a:srgbClr val="FF4019"/>
      </a:accent2>
      <a:accent3>
        <a:srgbClr val="0098CC"/>
      </a:accent3>
      <a:accent4>
        <a:srgbClr val="FECC26"/>
      </a:accent4>
      <a:accent5>
        <a:srgbClr val="406418"/>
      </a:accent5>
      <a:accent6>
        <a:srgbClr val="696A6D"/>
      </a:accent6>
      <a:hlink>
        <a:srgbClr val="D22300"/>
      </a:hlink>
      <a:folHlink>
        <a:srgbClr val="8ED244"/>
      </a:folHlink>
    </a:clrScheme>
    <a:fontScheme name="Capgemini-New">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esting (External)</Template>
  <TotalTime>1366</TotalTime>
  <Words>690</Words>
  <Application>Microsoft Office PowerPoint</Application>
  <PresentationFormat>A4 Paper (210x297 mm)</PresentationFormat>
  <Paragraphs>209</Paragraphs>
  <Slides>20</Slides>
  <Notes>6</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20</vt:i4>
      </vt:variant>
    </vt:vector>
  </HeadingPairs>
  <TitlesOfParts>
    <vt:vector size="24" baseType="lpstr">
      <vt:lpstr>Testing (External)</vt:lpstr>
      <vt:lpstr>Testing (External)_Closing slides</vt:lpstr>
      <vt:lpstr>Testing (External)_Section break</vt:lpstr>
      <vt:lpstr>think-cell Slide</vt:lpstr>
      <vt:lpstr>Slide 1</vt:lpstr>
      <vt:lpstr>What is BDD?</vt:lpstr>
      <vt:lpstr>Slide 3</vt:lpstr>
      <vt:lpstr>“5 Whys” technique why use BDD</vt:lpstr>
      <vt:lpstr>Behat  Test Suite Structure</vt:lpstr>
      <vt:lpstr>What Gherkin for ?</vt:lpstr>
      <vt:lpstr>Slide 7</vt:lpstr>
      <vt:lpstr>A Gherkin source file looks like </vt:lpstr>
      <vt:lpstr>What is behat?</vt:lpstr>
      <vt:lpstr>How behat executes scenario</vt:lpstr>
      <vt:lpstr>Behat testing stack</vt:lpstr>
      <vt:lpstr>Mink</vt:lpstr>
      <vt:lpstr> Behat interaction with Firefox</vt:lpstr>
      <vt:lpstr>Need of MinkExtension</vt:lpstr>
      <vt:lpstr>Extending MinkContext  &amp; Access</vt:lpstr>
      <vt:lpstr>If you want to run behat tests into selenium </vt:lpstr>
      <vt:lpstr>Smoke testing CI way</vt:lpstr>
      <vt:lpstr>Slide 18</vt:lpstr>
      <vt:lpstr>Slide 19</vt:lpstr>
      <vt:lpstr>Thank You</vt:lpstr>
    </vt:vector>
  </TitlesOfParts>
  <Company>Capgemini India Private Limite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sting &amp; QA Services Your #1 Choice for  Testing</dc:title>
  <dc:creator>ramarao</dc:creator>
  <cp:lastModifiedBy>nirpatil</cp:lastModifiedBy>
  <cp:revision>138</cp:revision>
  <dcterms:created xsi:type="dcterms:W3CDTF">2014-07-08T05:03:03Z</dcterms:created>
  <dcterms:modified xsi:type="dcterms:W3CDTF">2015-06-09T13:48:56Z</dcterms:modified>
</cp:coreProperties>
</file>